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2.xml" ContentType="application/vnd.openxmlformats-officedocument.presentationml.tags+xml"/>
  <Override PartName="/ppt/notesSlides/notesSlide1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2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41"/>
  </p:notesMasterIdLst>
  <p:sldIdLst>
    <p:sldId id="256" r:id="rId5"/>
    <p:sldId id="257" r:id="rId6"/>
    <p:sldId id="258" r:id="rId7"/>
    <p:sldId id="291" r:id="rId8"/>
    <p:sldId id="2147309365" r:id="rId9"/>
    <p:sldId id="2147309366" r:id="rId10"/>
    <p:sldId id="261" r:id="rId11"/>
    <p:sldId id="259" r:id="rId12"/>
    <p:sldId id="260" r:id="rId13"/>
    <p:sldId id="2598" r:id="rId14"/>
    <p:sldId id="2147309357" r:id="rId15"/>
    <p:sldId id="2147309328" r:id="rId16"/>
    <p:sldId id="5068" r:id="rId17"/>
    <p:sldId id="5066" r:id="rId18"/>
    <p:sldId id="2147309361" r:id="rId19"/>
    <p:sldId id="2147309362" r:id="rId20"/>
    <p:sldId id="2147309363" r:id="rId21"/>
    <p:sldId id="2147309364" r:id="rId22"/>
    <p:sldId id="312" r:id="rId23"/>
    <p:sldId id="319" r:id="rId24"/>
    <p:sldId id="2587" r:id="rId25"/>
    <p:sldId id="2593" r:id="rId26"/>
    <p:sldId id="2594" r:id="rId27"/>
    <p:sldId id="2595" r:id="rId28"/>
    <p:sldId id="2596" r:id="rId29"/>
    <p:sldId id="318" r:id="rId30"/>
    <p:sldId id="265" r:id="rId31"/>
    <p:sldId id="278" r:id="rId32"/>
    <p:sldId id="268" r:id="rId33"/>
    <p:sldId id="282" r:id="rId34"/>
    <p:sldId id="280" r:id="rId35"/>
    <p:sldId id="272" r:id="rId36"/>
    <p:sldId id="307" r:id="rId37"/>
    <p:sldId id="314" r:id="rId38"/>
    <p:sldId id="275" r:id="rId39"/>
    <p:sldId id="290" r:id="rId40"/>
  </p:sldIdLst>
  <p:sldSz cx="9144000" cy="5143500" type="screen16x9"/>
  <p:notesSz cx="6858000" cy="9144000"/>
  <p:defaultTextStyle>
    <a:defPPr>
      <a:defRPr lang="nb-NO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273F832-6C13-68EF-6B7B-ABA9C5EDE550}" name="Gry-Lene Johansen" initials="GLJ" userId="S::grylj@ntnu.no::acbf094c-51cb-4117-b367-2a5f9274475b" providerId="AD"/>
  <p188:author id="{023C9081-BD43-83DB-54A6-F1EB40916C41}" name="Maren Ellingsberg" initials="ME" userId="S::ellingsb@ntnu.no::2302c544-4afb-4231-9f9f-1b21d535bee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C4788"/>
    <a:srgbClr val="BBAC76"/>
    <a:srgbClr val="0D347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4B41A9E-7FDB-4381-A242-ABBAE754035F}" v="48" dt="2023-10-18T11:58:16.08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7181" autoAdjust="0"/>
  </p:normalViewPr>
  <p:slideViewPr>
    <p:cSldViewPr snapToGrid="0">
      <p:cViewPr varScale="1">
        <p:scale>
          <a:sx n="117" d="100"/>
          <a:sy n="117" d="100"/>
        </p:scale>
        <p:origin x="102" y="234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presProps" Target="presProps.xml"/><Relationship Id="rId47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viewProps" Target="viewProps.xml"/><Relationship Id="rId48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ry-Lene Johansen" userId="acbf094c-51cb-4117-b367-2a5f9274475b" providerId="ADAL" clId="{64B41A9E-7FDB-4381-A242-ABBAE754035F}"/>
    <pc:docChg chg="undo custSel addSld delSld modSld sldOrd">
      <pc:chgData name="Gry-Lene Johansen" userId="acbf094c-51cb-4117-b367-2a5f9274475b" providerId="ADAL" clId="{64B41A9E-7FDB-4381-A242-ABBAE754035F}" dt="2023-10-18T11:59:12.747" v="4042" actId="207"/>
      <pc:docMkLst>
        <pc:docMk/>
      </pc:docMkLst>
      <pc:sldChg chg="modSp mod">
        <pc:chgData name="Gry-Lene Johansen" userId="acbf094c-51cb-4117-b367-2a5f9274475b" providerId="ADAL" clId="{64B41A9E-7FDB-4381-A242-ABBAE754035F}" dt="2023-10-16T06:36:00.686" v="12" actId="20577"/>
        <pc:sldMkLst>
          <pc:docMk/>
          <pc:sldMk cId="3243102052" sldId="256"/>
        </pc:sldMkLst>
        <pc:spChg chg="mod">
          <ac:chgData name="Gry-Lene Johansen" userId="acbf094c-51cb-4117-b367-2a5f9274475b" providerId="ADAL" clId="{64B41A9E-7FDB-4381-A242-ABBAE754035F}" dt="2023-10-16T06:36:00.686" v="12" actId="20577"/>
          <ac:spMkLst>
            <pc:docMk/>
            <pc:sldMk cId="3243102052" sldId="256"/>
            <ac:spMk id="3" creationId="{00000000-0000-0000-0000-000000000000}"/>
          </ac:spMkLst>
        </pc:spChg>
      </pc:sldChg>
      <pc:sldChg chg="modSp mod">
        <pc:chgData name="Gry-Lene Johansen" userId="acbf094c-51cb-4117-b367-2a5f9274475b" providerId="ADAL" clId="{64B41A9E-7FDB-4381-A242-ABBAE754035F}" dt="2023-10-18T06:19:10.802" v="3242" actId="20577"/>
        <pc:sldMkLst>
          <pc:docMk/>
          <pc:sldMk cId="3306887064" sldId="257"/>
        </pc:sldMkLst>
        <pc:spChg chg="mod">
          <ac:chgData name="Gry-Lene Johansen" userId="acbf094c-51cb-4117-b367-2a5f9274475b" providerId="ADAL" clId="{64B41A9E-7FDB-4381-A242-ABBAE754035F}" dt="2023-10-17T11:18:34.210" v="2398" actId="1076"/>
          <ac:spMkLst>
            <pc:docMk/>
            <pc:sldMk cId="3306887064" sldId="257"/>
            <ac:spMk id="13" creationId="{00000000-0000-0000-0000-000000000000}"/>
          </ac:spMkLst>
        </pc:spChg>
        <pc:spChg chg="mod">
          <ac:chgData name="Gry-Lene Johansen" userId="acbf094c-51cb-4117-b367-2a5f9274475b" providerId="ADAL" clId="{64B41A9E-7FDB-4381-A242-ABBAE754035F}" dt="2023-10-18T06:19:10.802" v="3242" actId="20577"/>
          <ac:spMkLst>
            <pc:docMk/>
            <pc:sldMk cId="3306887064" sldId="257"/>
            <ac:spMk id="20" creationId="{00000000-0000-0000-0000-000000000000}"/>
          </ac:spMkLst>
        </pc:spChg>
      </pc:sldChg>
      <pc:sldChg chg="modSp mod">
        <pc:chgData name="Gry-Lene Johansen" userId="acbf094c-51cb-4117-b367-2a5f9274475b" providerId="ADAL" clId="{64B41A9E-7FDB-4381-A242-ABBAE754035F}" dt="2023-10-16T09:05:09.173" v="545" actId="947"/>
        <pc:sldMkLst>
          <pc:docMk/>
          <pc:sldMk cId="1837936119" sldId="258"/>
        </pc:sldMkLst>
        <pc:spChg chg="mod">
          <ac:chgData name="Gry-Lene Johansen" userId="acbf094c-51cb-4117-b367-2a5f9274475b" providerId="ADAL" clId="{64B41A9E-7FDB-4381-A242-ABBAE754035F}" dt="2023-10-16T09:05:09.173" v="545" actId="947"/>
          <ac:spMkLst>
            <pc:docMk/>
            <pc:sldMk cId="1837936119" sldId="258"/>
            <ac:spMk id="3" creationId="{CA582AF2-D415-DE7C-AC77-A702CCF1E54A}"/>
          </ac:spMkLst>
        </pc:spChg>
      </pc:sldChg>
      <pc:sldChg chg="modSp add mod">
        <pc:chgData name="Gry-Lene Johansen" userId="acbf094c-51cb-4117-b367-2a5f9274475b" providerId="ADAL" clId="{64B41A9E-7FDB-4381-A242-ABBAE754035F}" dt="2023-10-18T11:58:16.167" v="4014" actId="27636"/>
        <pc:sldMkLst>
          <pc:docMk/>
          <pc:sldMk cId="1152199335" sldId="259"/>
        </pc:sldMkLst>
        <pc:spChg chg="mod">
          <ac:chgData name="Gry-Lene Johansen" userId="acbf094c-51cb-4117-b367-2a5f9274475b" providerId="ADAL" clId="{64B41A9E-7FDB-4381-A242-ABBAE754035F}" dt="2023-10-18T11:58:16.167" v="4014" actId="27636"/>
          <ac:spMkLst>
            <pc:docMk/>
            <pc:sldMk cId="1152199335" sldId="259"/>
            <ac:spMk id="3" creationId="{C8584A5D-8F08-FA73-06C3-5AEA029900A2}"/>
          </ac:spMkLst>
        </pc:spChg>
      </pc:sldChg>
      <pc:sldChg chg="add del">
        <pc:chgData name="Gry-Lene Johansen" userId="acbf094c-51cb-4117-b367-2a5f9274475b" providerId="ADAL" clId="{64B41A9E-7FDB-4381-A242-ABBAE754035F}" dt="2023-10-16T13:13:38.084" v="1756" actId="47"/>
        <pc:sldMkLst>
          <pc:docMk/>
          <pc:sldMk cId="2870008099" sldId="259"/>
        </pc:sldMkLst>
      </pc:sldChg>
      <pc:sldChg chg="add">
        <pc:chgData name="Gry-Lene Johansen" userId="acbf094c-51cb-4117-b367-2a5f9274475b" providerId="ADAL" clId="{64B41A9E-7FDB-4381-A242-ABBAE754035F}" dt="2023-10-18T11:58:16.076" v="4011"/>
        <pc:sldMkLst>
          <pc:docMk/>
          <pc:sldMk cId="1943463186" sldId="260"/>
        </pc:sldMkLst>
      </pc:sldChg>
      <pc:sldChg chg="modSp add mod">
        <pc:chgData name="Gry-Lene Johansen" userId="acbf094c-51cb-4117-b367-2a5f9274475b" providerId="ADAL" clId="{64B41A9E-7FDB-4381-A242-ABBAE754035F}" dt="2023-10-18T11:58:36.579" v="4018" actId="1076"/>
        <pc:sldMkLst>
          <pc:docMk/>
          <pc:sldMk cId="1084481479" sldId="261"/>
        </pc:sldMkLst>
        <pc:spChg chg="mod">
          <ac:chgData name="Gry-Lene Johansen" userId="acbf094c-51cb-4117-b367-2a5f9274475b" providerId="ADAL" clId="{64B41A9E-7FDB-4381-A242-ABBAE754035F}" dt="2023-10-18T11:58:36.579" v="4018" actId="1076"/>
          <ac:spMkLst>
            <pc:docMk/>
            <pc:sldMk cId="1084481479" sldId="261"/>
            <ac:spMk id="3" creationId="{20BD1264-9082-834A-A2C6-A3944D48986C}"/>
          </ac:spMkLst>
        </pc:spChg>
      </pc:sldChg>
      <pc:sldChg chg="add del">
        <pc:chgData name="Gry-Lene Johansen" userId="acbf094c-51cb-4117-b367-2a5f9274475b" providerId="ADAL" clId="{64B41A9E-7FDB-4381-A242-ABBAE754035F}" dt="2023-10-16T13:13:51.700" v="1759" actId="47"/>
        <pc:sldMkLst>
          <pc:docMk/>
          <pc:sldMk cId="1050063274" sldId="262"/>
        </pc:sldMkLst>
      </pc:sldChg>
      <pc:sldChg chg="del">
        <pc:chgData name="Gry-Lene Johansen" userId="acbf094c-51cb-4117-b367-2a5f9274475b" providerId="ADAL" clId="{64B41A9E-7FDB-4381-A242-ABBAE754035F}" dt="2023-10-16T06:39:26.687" v="284" actId="47"/>
        <pc:sldMkLst>
          <pc:docMk/>
          <pc:sldMk cId="912681883" sldId="263"/>
        </pc:sldMkLst>
      </pc:sldChg>
      <pc:sldChg chg="modSp add del mod">
        <pc:chgData name="Gry-Lene Johansen" userId="acbf094c-51cb-4117-b367-2a5f9274475b" providerId="ADAL" clId="{64B41A9E-7FDB-4381-A242-ABBAE754035F}" dt="2023-10-16T13:22:56.051" v="2066" actId="313"/>
        <pc:sldMkLst>
          <pc:docMk/>
          <pc:sldMk cId="1326612817" sldId="265"/>
        </pc:sldMkLst>
        <pc:spChg chg="mod">
          <ac:chgData name="Gry-Lene Johansen" userId="acbf094c-51cb-4117-b367-2a5f9274475b" providerId="ADAL" clId="{64B41A9E-7FDB-4381-A242-ABBAE754035F}" dt="2023-10-16T13:14:01.363" v="1760" actId="13926"/>
          <ac:spMkLst>
            <pc:docMk/>
            <pc:sldMk cId="1326612817" sldId="265"/>
            <ac:spMk id="2" creationId="{62D7352B-0170-1254-1391-B86BB09E2B59}"/>
          </ac:spMkLst>
        </pc:spChg>
        <pc:graphicFrameChg chg="modGraphic">
          <ac:chgData name="Gry-Lene Johansen" userId="acbf094c-51cb-4117-b367-2a5f9274475b" providerId="ADAL" clId="{64B41A9E-7FDB-4381-A242-ABBAE754035F}" dt="2023-10-16T13:22:56.051" v="2066" actId="313"/>
          <ac:graphicFrameMkLst>
            <pc:docMk/>
            <pc:sldMk cId="1326612817" sldId="265"/>
            <ac:graphicFrameMk id="4" creationId="{5AD73FD7-F777-33F3-BA51-ED8AF58EAD96}"/>
          </ac:graphicFrameMkLst>
        </pc:graphicFrameChg>
      </pc:sldChg>
      <pc:sldChg chg="add del">
        <pc:chgData name="Gry-Lene Johansen" userId="acbf094c-51cb-4117-b367-2a5f9274475b" providerId="ADAL" clId="{64B41A9E-7FDB-4381-A242-ABBAE754035F}" dt="2023-10-16T13:13:17.026" v="1749" actId="47"/>
        <pc:sldMkLst>
          <pc:docMk/>
          <pc:sldMk cId="210224924" sldId="266"/>
        </pc:sldMkLst>
      </pc:sldChg>
      <pc:sldChg chg="add del">
        <pc:chgData name="Gry-Lene Johansen" userId="acbf094c-51cb-4117-b367-2a5f9274475b" providerId="ADAL" clId="{64B41A9E-7FDB-4381-A242-ABBAE754035F}" dt="2023-10-16T13:13:20.916" v="1750" actId="47"/>
        <pc:sldMkLst>
          <pc:docMk/>
          <pc:sldMk cId="3468000806" sldId="267"/>
        </pc:sldMkLst>
      </pc:sldChg>
      <pc:sldChg chg="modSp add del mod">
        <pc:chgData name="Gry-Lene Johansen" userId="acbf094c-51cb-4117-b367-2a5f9274475b" providerId="ADAL" clId="{64B41A9E-7FDB-4381-A242-ABBAE754035F}" dt="2023-10-16T13:17:56.021" v="1782" actId="20577"/>
        <pc:sldMkLst>
          <pc:docMk/>
          <pc:sldMk cId="1036469456" sldId="268"/>
        </pc:sldMkLst>
        <pc:graphicFrameChg chg="modGraphic">
          <ac:chgData name="Gry-Lene Johansen" userId="acbf094c-51cb-4117-b367-2a5f9274475b" providerId="ADAL" clId="{64B41A9E-7FDB-4381-A242-ABBAE754035F}" dt="2023-10-16T13:17:56.021" v="1782" actId="20577"/>
          <ac:graphicFrameMkLst>
            <pc:docMk/>
            <pc:sldMk cId="1036469456" sldId="268"/>
            <ac:graphicFrameMk id="4" creationId="{5AD73FD7-F777-33F3-BA51-ED8AF58EAD96}"/>
          </ac:graphicFrameMkLst>
        </pc:graphicFrameChg>
      </pc:sldChg>
      <pc:sldChg chg="add del">
        <pc:chgData name="Gry-Lene Johansen" userId="acbf094c-51cb-4117-b367-2a5f9274475b" providerId="ADAL" clId="{64B41A9E-7FDB-4381-A242-ABBAE754035F}" dt="2023-10-16T13:13:48.683" v="1758" actId="47"/>
        <pc:sldMkLst>
          <pc:docMk/>
          <pc:sldMk cId="3124921331" sldId="269"/>
        </pc:sldMkLst>
      </pc:sldChg>
      <pc:sldChg chg="modSp add del mod">
        <pc:chgData name="Gry-Lene Johansen" userId="acbf094c-51cb-4117-b367-2a5f9274475b" providerId="ADAL" clId="{64B41A9E-7FDB-4381-A242-ABBAE754035F}" dt="2023-10-18T10:23:15.633" v="4010" actId="20577"/>
        <pc:sldMkLst>
          <pc:docMk/>
          <pc:sldMk cId="1173333236" sldId="272"/>
        </pc:sldMkLst>
        <pc:spChg chg="mod">
          <ac:chgData name="Gry-Lene Johansen" userId="acbf094c-51cb-4117-b367-2a5f9274475b" providerId="ADAL" clId="{64B41A9E-7FDB-4381-A242-ABBAE754035F}" dt="2023-10-16T13:19:15.747" v="1787" actId="1076"/>
          <ac:spMkLst>
            <pc:docMk/>
            <pc:sldMk cId="1173333236" sldId="272"/>
            <ac:spMk id="2" creationId="{62D7352B-0170-1254-1391-B86BB09E2B59}"/>
          </ac:spMkLst>
        </pc:spChg>
        <pc:graphicFrameChg chg="mod modGraphic">
          <ac:chgData name="Gry-Lene Johansen" userId="acbf094c-51cb-4117-b367-2a5f9274475b" providerId="ADAL" clId="{64B41A9E-7FDB-4381-A242-ABBAE754035F}" dt="2023-10-18T10:23:15.633" v="4010" actId="20577"/>
          <ac:graphicFrameMkLst>
            <pc:docMk/>
            <pc:sldMk cId="1173333236" sldId="272"/>
            <ac:graphicFrameMk id="4" creationId="{5AD73FD7-F777-33F3-BA51-ED8AF58EAD96}"/>
          </ac:graphicFrameMkLst>
        </pc:graphicFrameChg>
      </pc:sldChg>
      <pc:sldChg chg="add del">
        <pc:chgData name="Gry-Lene Johansen" userId="acbf094c-51cb-4117-b367-2a5f9274475b" providerId="ADAL" clId="{64B41A9E-7FDB-4381-A242-ABBAE754035F}" dt="2023-10-16T13:13:26.698" v="1753" actId="47"/>
        <pc:sldMkLst>
          <pc:docMk/>
          <pc:sldMk cId="1909882788" sldId="273"/>
        </pc:sldMkLst>
      </pc:sldChg>
      <pc:sldChg chg="modSp mod">
        <pc:chgData name="Gry-Lene Johansen" userId="acbf094c-51cb-4117-b367-2a5f9274475b" providerId="ADAL" clId="{64B41A9E-7FDB-4381-A242-ABBAE754035F}" dt="2023-10-18T06:47:54.933" v="3243" actId="20577"/>
        <pc:sldMkLst>
          <pc:docMk/>
          <pc:sldMk cId="2665728878" sldId="275"/>
        </pc:sldMkLst>
        <pc:spChg chg="mod">
          <ac:chgData name="Gry-Lene Johansen" userId="acbf094c-51cb-4117-b367-2a5f9274475b" providerId="ADAL" clId="{64B41A9E-7FDB-4381-A242-ABBAE754035F}" dt="2023-10-18T06:47:54.933" v="3243" actId="20577"/>
          <ac:spMkLst>
            <pc:docMk/>
            <pc:sldMk cId="2665728878" sldId="275"/>
            <ac:spMk id="3" creationId="{BBFD3D9C-FC85-B294-64D8-35A18B615E1D}"/>
          </ac:spMkLst>
        </pc:spChg>
      </pc:sldChg>
      <pc:sldChg chg="add del">
        <pc:chgData name="Gry-Lene Johansen" userId="acbf094c-51cb-4117-b367-2a5f9274475b" providerId="ADAL" clId="{64B41A9E-7FDB-4381-A242-ABBAE754035F}" dt="2023-10-16T13:13:25.083" v="1751" actId="47"/>
        <pc:sldMkLst>
          <pc:docMk/>
          <pc:sldMk cId="2614891722" sldId="276"/>
        </pc:sldMkLst>
      </pc:sldChg>
      <pc:sldChg chg="add del">
        <pc:chgData name="Gry-Lene Johansen" userId="acbf094c-51cb-4117-b367-2a5f9274475b" providerId="ADAL" clId="{64B41A9E-7FDB-4381-A242-ABBAE754035F}" dt="2023-10-16T13:13:25.891" v="1752" actId="47"/>
        <pc:sldMkLst>
          <pc:docMk/>
          <pc:sldMk cId="3033014414" sldId="277"/>
        </pc:sldMkLst>
      </pc:sldChg>
      <pc:sldChg chg="addSp delSp modSp add mod">
        <pc:chgData name="Gry-Lene Johansen" userId="acbf094c-51cb-4117-b367-2a5f9274475b" providerId="ADAL" clId="{64B41A9E-7FDB-4381-A242-ABBAE754035F}" dt="2023-10-18T10:22:20.159" v="4002" actId="20577"/>
        <pc:sldMkLst>
          <pc:docMk/>
          <pc:sldMk cId="694419845" sldId="278"/>
        </pc:sldMkLst>
        <pc:spChg chg="mod">
          <ac:chgData name="Gry-Lene Johansen" userId="acbf094c-51cb-4117-b367-2a5f9274475b" providerId="ADAL" clId="{64B41A9E-7FDB-4381-A242-ABBAE754035F}" dt="2023-10-16T13:15:17.428" v="1766" actId="13926"/>
          <ac:spMkLst>
            <pc:docMk/>
            <pc:sldMk cId="694419845" sldId="278"/>
            <ac:spMk id="2" creationId="{62D7352B-0170-1254-1391-B86BB09E2B59}"/>
          </ac:spMkLst>
        </pc:spChg>
        <pc:spChg chg="add del mod">
          <ac:chgData name="Gry-Lene Johansen" userId="acbf094c-51cb-4117-b367-2a5f9274475b" providerId="ADAL" clId="{64B41A9E-7FDB-4381-A242-ABBAE754035F}" dt="2023-10-18T10:20:49.700" v="3977" actId="478"/>
          <ac:spMkLst>
            <pc:docMk/>
            <pc:sldMk cId="694419845" sldId="278"/>
            <ac:spMk id="5" creationId="{583A6A89-7064-7D93-607B-DA6B8918AAD3}"/>
          </ac:spMkLst>
        </pc:spChg>
        <pc:spChg chg="add mod">
          <ac:chgData name="Gry-Lene Johansen" userId="acbf094c-51cb-4117-b367-2a5f9274475b" providerId="ADAL" clId="{64B41A9E-7FDB-4381-A242-ABBAE754035F}" dt="2023-10-18T10:20:54.789" v="3978"/>
          <ac:spMkLst>
            <pc:docMk/>
            <pc:sldMk cId="694419845" sldId="278"/>
            <ac:spMk id="7" creationId="{CA90CFFB-4927-8E20-60A2-A0FCE0E7D7DA}"/>
          </ac:spMkLst>
        </pc:spChg>
        <pc:graphicFrameChg chg="add del mod">
          <ac:chgData name="Gry-Lene Johansen" userId="acbf094c-51cb-4117-b367-2a5f9274475b" providerId="ADAL" clId="{64B41A9E-7FDB-4381-A242-ABBAE754035F}" dt="2023-10-18T10:20:49.700" v="3977" actId="478"/>
          <ac:graphicFrameMkLst>
            <pc:docMk/>
            <pc:sldMk cId="694419845" sldId="278"/>
            <ac:graphicFrameMk id="3" creationId="{4407E6B2-21DD-D87C-DECA-2C2C6FA3EF9C}"/>
          </ac:graphicFrameMkLst>
        </pc:graphicFrameChg>
        <pc:graphicFrameChg chg="del mod modGraphic">
          <ac:chgData name="Gry-Lene Johansen" userId="acbf094c-51cb-4117-b367-2a5f9274475b" providerId="ADAL" clId="{64B41A9E-7FDB-4381-A242-ABBAE754035F}" dt="2023-10-18T10:20:31.719" v="3974" actId="478"/>
          <ac:graphicFrameMkLst>
            <pc:docMk/>
            <pc:sldMk cId="694419845" sldId="278"/>
            <ac:graphicFrameMk id="4" creationId="{5AD73FD7-F777-33F3-BA51-ED8AF58EAD96}"/>
          </ac:graphicFrameMkLst>
        </pc:graphicFrameChg>
        <pc:graphicFrameChg chg="add mod modGraphic">
          <ac:chgData name="Gry-Lene Johansen" userId="acbf094c-51cb-4117-b367-2a5f9274475b" providerId="ADAL" clId="{64B41A9E-7FDB-4381-A242-ABBAE754035F}" dt="2023-10-18T10:22:20.159" v="4002" actId="20577"/>
          <ac:graphicFrameMkLst>
            <pc:docMk/>
            <pc:sldMk cId="694419845" sldId="278"/>
            <ac:graphicFrameMk id="6" creationId="{DC0882EC-53CA-49DE-51F0-0A88D6A7660A}"/>
          </ac:graphicFrameMkLst>
        </pc:graphicFrameChg>
      </pc:sldChg>
      <pc:sldChg chg="add del">
        <pc:chgData name="Gry-Lene Johansen" userId="acbf094c-51cb-4117-b367-2a5f9274475b" providerId="ADAL" clId="{64B41A9E-7FDB-4381-A242-ABBAE754035F}" dt="2023-10-16T13:13:11.199" v="1748"/>
        <pc:sldMkLst>
          <pc:docMk/>
          <pc:sldMk cId="1970599020" sldId="280"/>
        </pc:sldMkLst>
      </pc:sldChg>
      <pc:sldChg chg="modSp add del mod">
        <pc:chgData name="Gry-Lene Johansen" userId="acbf094c-51cb-4117-b367-2a5f9274475b" providerId="ADAL" clId="{64B41A9E-7FDB-4381-A242-ABBAE754035F}" dt="2023-10-18T10:22:55.200" v="4008" actId="20577"/>
        <pc:sldMkLst>
          <pc:docMk/>
          <pc:sldMk cId="3257093840" sldId="282"/>
        </pc:sldMkLst>
        <pc:spChg chg="mod">
          <ac:chgData name="Gry-Lene Johansen" userId="acbf094c-51cb-4117-b367-2a5f9274475b" providerId="ADAL" clId="{64B41A9E-7FDB-4381-A242-ABBAE754035F}" dt="2023-10-16T13:14:34.218" v="1764" actId="13926"/>
          <ac:spMkLst>
            <pc:docMk/>
            <pc:sldMk cId="3257093840" sldId="282"/>
            <ac:spMk id="2" creationId="{62D7352B-0170-1254-1391-B86BB09E2B59}"/>
          </ac:spMkLst>
        </pc:spChg>
        <pc:graphicFrameChg chg="mod modGraphic">
          <ac:chgData name="Gry-Lene Johansen" userId="acbf094c-51cb-4117-b367-2a5f9274475b" providerId="ADAL" clId="{64B41A9E-7FDB-4381-A242-ABBAE754035F}" dt="2023-10-18T10:22:55.200" v="4008" actId="20577"/>
          <ac:graphicFrameMkLst>
            <pc:docMk/>
            <pc:sldMk cId="3257093840" sldId="282"/>
            <ac:graphicFrameMk id="4" creationId="{5AD73FD7-F777-33F3-BA51-ED8AF58EAD96}"/>
          </ac:graphicFrameMkLst>
        </pc:graphicFrameChg>
      </pc:sldChg>
      <pc:sldChg chg="add del">
        <pc:chgData name="Gry-Lene Johansen" userId="acbf094c-51cb-4117-b367-2a5f9274475b" providerId="ADAL" clId="{64B41A9E-7FDB-4381-A242-ABBAE754035F}" dt="2023-10-16T13:13:40.122" v="1757" actId="47"/>
        <pc:sldMkLst>
          <pc:docMk/>
          <pc:sldMk cId="929487148" sldId="283"/>
        </pc:sldMkLst>
      </pc:sldChg>
      <pc:sldChg chg="del">
        <pc:chgData name="Gry-Lene Johansen" userId="acbf094c-51cb-4117-b367-2a5f9274475b" providerId="ADAL" clId="{64B41A9E-7FDB-4381-A242-ABBAE754035F}" dt="2023-10-16T06:38:48.413" v="251" actId="47"/>
        <pc:sldMkLst>
          <pc:docMk/>
          <pc:sldMk cId="499380852" sldId="292"/>
        </pc:sldMkLst>
      </pc:sldChg>
      <pc:sldChg chg="del">
        <pc:chgData name="Gry-Lene Johansen" userId="acbf094c-51cb-4117-b367-2a5f9274475b" providerId="ADAL" clId="{64B41A9E-7FDB-4381-A242-ABBAE754035F}" dt="2023-10-16T06:38:54.302" v="253" actId="47"/>
        <pc:sldMkLst>
          <pc:docMk/>
          <pc:sldMk cId="2433862643" sldId="293"/>
        </pc:sldMkLst>
      </pc:sldChg>
      <pc:sldChg chg="del">
        <pc:chgData name="Gry-Lene Johansen" userId="acbf094c-51cb-4117-b367-2a5f9274475b" providerId="ADAL" clId="{64B41A9E-7FDB-4381-A242-ABBAE754035F}" dt="2023-10-16T06:39:26.687" v="284" actId="47"/>
        <pc:sldMkLst>
          <pc:docMk/>
          <pc:sldMk cId="2541970825" sldId="294"/>
        </pc:sldMkLst>
      </pc:sldChg>
      <pc:sldChg chg="del">
        <pc:chgData name="Gry-Lene Johansen" userId="acbf094c-51cb-4117-b367-2a5f9274475b" providerId="ADAL" clId="{64B41A9E-7FDB-4381-A242-ABBAE754035F}" dt="2023-10-16T06:38:38.466" v="245" actId="47"/>
        <pc:sldMkLst>
          <pc:docMk/>
          <pc:sldMk cId="493350850" sldId="296"/>
        </pc:sldMkLst>
      </pc:sldChg>
      <pc:sldChg chg="del">
        <pc:chgData name="Gry-Lene Johansen" userId="acbf094c-51cb-4117-b367-2a5f9274475b" providerId="ADAL" clId="{64B41A9E-7FDB-4381-A242-ABBAE754035F}" dt="2023-10-16T06:38:46.478" v="249" actId="47"/>
        <pc:sldMkLst>
          <pc:docMk/>
          <pc:sldMk cId="2154376745" sldId="297"/>
        </pc:sldMkLst>
      </pc:sldChg>
      <pc:sldChg chg="del">
        <pc:chgData name="Gry-Lene Johansen" userId="acbf094c-51cb-4117-b367-2a5f9274475b" providerId="ADAL" clId="{64B41A9E-7FDB-4381-A242-ABBAE754035F}" dt="2023-10-16T06:38:46.903" v="250" actId="47"/>
        <pc:sldMkLst>
          <pc:docMk/>
          <pc:sldMk cId="2556948986" sldId="299"/>
        </pc:sldMkLst>
      </pc:sldChg>
      <pc:sldChg chg="del">
        <pc:chgData name="Gry-Lene Johansen" userId="acbf094c-51cb-4117-b367-2a5f9274475b" providerId="ADAL" clId="{64B41A9E-7FDB-4381-A242-ABBAE754035F}" dt="2023-10-16T06:38:39.177" v="246" actId="47"/>
        <pc:sldMkLst>
          <pc:docMk/>
          <pc:sldMk cId="544691371" sldId="302"/>
        </pc:sldMkLst>
      </pc:sldChg>
      <pc:sldChg chg="del">
        <pc:chgData name="Gry-Lene Johansen" userId="acbf094c-51cb-4117-b367-2a5f9274475b" providerId="ADAL" clId="{64B41A9E-7FDB-4381-A242-ABBAE754035F}" dt="2023-10-16T06:38:45.642" v="248" actId="47"/>
        <pc:sldMkLst>
          <pc:docMk/>
          <pc:sldMk cId="3824646577" sldId="303"/>
        </pc:sldMkLst>
      </pc:sldChg>
      <pc:sldChg chg="modSp del mod">
        <pc:chgData name="Gry-Lene Johansen" userId="acbf094c-51cb-4117-b367-2a5f9274475b" providerId="ADAL" clId="{64B41A9E-7FDB-4381-A242-ABBAE754035F}" dt="2023-10-16T09:20:12.796" v="1220" actId="47"/>
        <pc:sldMkLst>
          <pc:docMk/>
          <pc:sldMk cId="1856645539" sldId="304"/>
        </pc:sldMkLst>
        <pc:spChg chg="mod">
          <ac:chgData name="Gry-Lene Johansen" userId="acbf094c-51cb-4117-b367-2a5f9274475b" providerId="ADAL" clId="{64B41A9E-7FDB-4381-A242-ABBAE754035F}" dt="2023-10-16T06:39:17.136" v="283" actId="20577"/>
          <ac:spMkLst>
            <pc:docMk/>
            <pc:sldMk cId="1856645539" sldId="304"/>
            <ac:spMk id="4" creationId="{A06FD517-2E8D-8E28-EB04-A21D150FD6A0}"/>
          </ac:spMkLst>
        </pc:spChg>
        <pc:spChg chg="mod">
          <ac:chgData name="Gry-Lene Johansen" userId="acbf094c-51cb-4117-b367-2a5f9274475b" providerId="ADAL" clId="{64B41A9E-7FDB-4381-A242-ABBAE754035F}" dt="2023-10-16T06:39:09.853" v="266" actId="20577"/>
          <ac:spMkLst>
            <pc:docMk/>
            <pc:sldMk cId="1856645539" sldId="304"/>
            <ac:spMk id="5" creationId="{1E4439BA-C21D-82B7-759F-6C8605A99F9C}"/>
          </ac:spMkLst>
        </pc:spChg>
      </pc:sldChg>
      <pc:sldChg chg="del">
        <pc:chgData name="Gry-Lene Johansen" userId="acbf094c-51cb-4117-b367-2a5f9274475b" providerId="ADAL" clId="{64B41A9E-7FDB-4381-A242-ABBAE754035F}" dt="2023-10-16T06:38:39.872" v="247" actId="47"/>
        <pc:sldMkLst>
          <pc:docMk/>
          <pc:sldMk cId="1368928002" sldId="305"/>
        </pc:sldMkLst>
      </pc:sldChg>
      <pc:sldChg chg="del">
        <pc:chgData name="Gry-Lene Johansen" userId="acbf094c-51cb-4117-b367-2a5f9274475b" providerId="ADAL" clId="{64B41A9E-7FDB-4381-A242-ABBAE754035F}" dt="2023-10-16T06:39:26.687" v="284" actId="47"/>
        <pc:sldMkLst>
          <pc:docMk/>
          <pc:sldMk cId="2435995011" sldId="306"/>
        </pc:sldMkLst>
      </pc:sldChg>
      <pc:sldChg chg="modSp mod">
        <pc:chgData name="Gry-Lene Johansen" userId="acbf094c-51cb-4117-b367-2a5f9274475b" providerId="ADAL" clId="{64B41A9E-7FDB-4381-A242-ABBAE754035F}" dt="2023-10-17T12:31:07.093" v="2541" actId="20577"/>
        <pc:sldMkLst>
          <pc:docMk/>
          <pc:sldMk cId="3979021157" sldId="307"/>
        </pc:sldMkLst>
        <pc:spChg chg="mod">
          <ac:chgData name="Gry-Lene Johansen" userId="acbf094c-51cb-4117-b367-2a5f9274475b" providerId="ADAL" clId="{64B41A9E-7FDB-4381-A242-ABBAE754035F}" dt="2023-10-17T12:31:07.093" v="2541" actId="20577"/>
          <ac:spMkLst>
            <pc:docMk/>
            <pc:sldMk cId="3979021157" sldId="307"/>
            <ac:spMk id="4" creationId="{44012D53-4523-2EF3-A21E-CC7407DE4437}"/>
          </ac:spMkLst>
        </pc:spChg>
        <pc:spChg chg="mod">
          <ac:chgData name="Gry-Lene Johansen" userId="acbf094c-51cb-4117-b367-2a5f9274475b" providerId="ADAL" clId="{64B41A9E-7FDB-4381-A242-ABBAE754035F}" dt="2023-10-16T09:20:09.761" v="1219" actId="1035"/>
          <ac:spMkLst>
            <pc:docMk/>
            <pc:sldMk cId="3979021157" sldId="307"/>
            <ac:spMk id="5" creationId="{87369549-BA84-F509-3991-33CCD4B182AC}"/>
          </ac:spMkLst>
        </pc:spChg>
      </pc:sldChg>
      <pc:sldChg chg="addSp delSp modSp new del mod modClrScheme chgLayout modNotesTx">
        <pc:chgData name="Gry-Lene Johansen" userId="acbf094c-51cb-4117-b367-2a5f9274475b" providerId="ADAL" clId="{64B41A9E-7FDB-4381-A242-ABBAE754035F}" dt="2023-10-18T11:58:20.182" v="4015" actId="47"/>
        <pc:sldMkLst>
          <pc:docMk/>
          <pc:sldMk cId="380126609" sldId="308"/>
        </pc:sldMkLst>
        <pc:spChg chg="del mod ord">
          <ac:chgData name="Gry-Lene Johansen" userId="acbf094c-51cb-4117-b367-2a5f9274475b" providerId="ADAL" clId="{64B41A9E-7FDB-4381-A242-ABBAE754035F}" dt="2023-10-16T09:05:26.523" v="547" actId="700"/>
          <ac:spMkLst>
            <pc:docMk/>
            <pc:sldMk cId="380126609" sldId="308"/>
            <ac:spMk id="2" creationId="{4DE09924-A39D-6CBE-AA68-38C605C9A55C}"/>
          </ac:spMkLst>
        </pc:spChg>
        <pc:spChg chg="del mod ord">
          <ac:chgData name="Gry-Lene Johansen" userId="acbf094c-51cb-4117-b367-2a5f9274475b" providerId="ADAL" clId="{64B41A9E-7FDB-4381-A242-ABBAE754035F}" dt="2023-10-16T09:05:26.523" v="547" actId="700"/>
          <ac:spMkLst>
            <pc:docMk/>
            <pc:sldMk cId="380126609" sldId="308"/>
            <ac:spMk id="3" creationId="{03A7E601-B5F7-E5A3-D64B-E07E37D23DD0}"/>
          </ac:spMkLst>
        </pc:spChg>
        <pc:spChg chg="add mod ord">
          <ac:chgData name="Gry-Lene Johansen" userId="acbf094c-51cb-4117-b367-2a5f9274475b" providerId="ADAL" clId="{64B41A9E-7FDB-4381-A242-ABBAE754035F}" dt="2023-10-16T09:13:20.581" v="901" actId="255"/>
          <ac:spMkLst>
            <pc:docMk/>
            <pc:sldMk cId="380126609" sldId="308"/>
            <ac:spMk id="4" creationId="{F06EB46D-8035-BBAA-BAA5-0964D1940ECF}"/>
          </ac:spMkLst>
        </pc:spChg>
        <pc:spChg chg="add mod ord">
          <ac:chgData name="Gry-Lene Johansen" userId="acbf094c-51cb-4117-b367-2a5f9274475b" providerId="ADAL" clId="{64B41A9E-7FDB-4381-A242-ABBAE754035F}" dt="2023-10-18T06:03:48.105" v="3233" actId="1076"/>
          <ac:spMkLst>
            <pc:docMk/>
            <pc:sldMk cId="380126609" sldId="308"/>
            <ac:spMk id="5" creationId="{3628C0FC-CCFF-A01F-5250-0E1087FB3F1C}"/>
          </ac:spMkLst>
        </pc:spChg>
        <pc:spChg chg="add del mod">
          <ac:chgData name="Gry-Lene Johansen" userId="acbf094c-51cb-4117-b367-2a5f9274475b" providerId="ADAL" clId="{64B41A9E-7FDB-4381-A242-ABBAE754035F}" dt="2023-10-18T06:16:38.876" v="3234" actId="478"/>
          <ac:spMkLst>
            <pc:docMk/>
            <pc:sldMk cId="380126609" sldId="308"/>
            <ac:spMk id="6" creationId="{F6833C7E-60D0-8BF8-C981-3AEDDE0B2356}"/>
          </ac:spMkLst>
        </pc:spChg>
      </pc:sldChg>
      <pc:sldChg chg="del">
        <pc:chgData name="Gry-Lene Johansen" userId="acbf094c-51cb-4117-b367-2a5f9274475b" providerId="ADAL" clId="{64B41A9E-7FDB-4381-A242-ABBAE754035F}" dt="2023-10-16T06:38:49.985" v="252" actId="47"/>
        <pc:sldMkLst>
          <pc:docMk/>
          <pc:sldMk cId="4292941079" sldId="308"/>
        </pc:sldMkLst>
      </pc:sldChg>
      <pc:sldChg chg="addSp delSp modSp new del mod">
        <pc:chgData name="Gry-Lene Johansen" userId="acbf094c-51cb-4117-b367-2a5f9274475b" providerId="ADAL" clId="{64B41A9E-7FDB-4381-A242-ABBAE754035F}" dt="2023-10-18T09:25:18.479" v="3429" actId="47"/>
        <pc:sldMkLst>
          <pc:docMk/>
          <pc:sldMk cId="1542349404" sldId="309"/>
        </pc:sldMkLst>
        <pc:spChg chg="mod">
          <ac:chgData name="Gry-Lene Johansen" userId="acbf094c-51cb-4117-b367-2a5f9274475b" providerId="ADAL" clId="{64B41A9E-7FDB-4381-A242-ABBAE754035F}" dt="2023-10-16T09:13:35.001" v="930" actId="20577"/>
          <ac:spMkLst>
            <pc:docMk/>
            <pc:sldMk cId="1542349404" sldId="309"/>
            <ac:spMk id="2" creationId="{C7C5374E-2510-AB46-6EC3-E473707289B8}"/>
          </ac:spMkLst>
        </pc:spChg>
        <pc:spChg chg="mod">
          <ac:chgData name="Gry-Lene Johansen" userId="acbf094c-51cb-4117-b367-2a5f9274475b" providerId="ADAL" clId="{64B41A9E-7FDB-4381-A242-ABBAE754035F}" dt="2023-10-18T06:03:44.341" v="3232" actId="14100"/>
          <ac:spMkLst>
            <pc:docMk/>
            <pc:sldMk cId="1542349404" sldId="309"/>
            <ac:spMk id="3" creationId="{002AE612-A71B-D6A1-EEA1-E4DCF0AF4E70}"/>
          </ac:spMkLst>
        </pc:spChg>
        <pc:spChg chg="add del mod">
          <ac:chgData name="Gry-Lene Johansen" userId="acbf094c-51cb-4117-b367-2a5f9274475b" providerId="ADAL" clId="{64B41A9E-7FDB-4381-A242-ABBAE754035F}" dt="2023-10-18T06:03:40.536" v="3231" actId="478"/>
          <ac:spMkLst>
            <pc:docMk/>
            <pc:sldMk cId="1542349404" sldId="309"/>
            <ac:spMk id="4" creationId="{FD91F991-D541-BFC0-C1D8-1F913CEF8221}"/>
          </ac:spMkLst>
        </pc:spChg>
      </pc:sldChg>
      <pc:sldChg chg="modSp new del mod">
        <pc:chgData name="Gry-Lene Johansen" userId="acbf094c-51cb-4117-b367-2a5f9274475b" providerId="ADAL" clId="{64B41A9E-7FDB-4381-A242-ABBAE754035F}" dt="2023-10-16T13:24:21.617" v="2112" actId="47"/>
        <pc:sldMkLst>
          <pc:docMk/>
          <pc:sldMk cId="205748889" sldId="310"/>
        </pc:sldMkLst>
        <pc:spChg chg="mod">
          <ac:chgData name="Gry-Lene Johansen" userId="acbf094c-51cb-4117-b367-2a5f9274475b" providerId="ADAL" clId="{64B41A9E-7FDB-4381-A242-ABBAE754035F}" dt="2023-10-16T09:13:55.967" v="967" actId="20577"/>
          <ac:spMkLst>
            <pc:docMk/>
            <pc:sldMk cId="205748889" sldId="310"/>
            <ac:spMk id="2" creationId="{9D5BD957-EE10-9083-6907-9B05F8BF034B}"/>
          </ac:spMkLst>
        </pc:spChg>
        <pc:spChg chg="mod">
          <ac:chgData name="Gry-Lene Johansen" userId="acbf094c-51cb-4117-b367-2a5f9274475b" providerId="ADAL" clId="{64B41A9E-7FDB-4381-A242-ABBAE754035F}" dt="2023-10-16T09:19:17.127" v="1105" actId="20577"/>
          <ac:spMkLst>
            <pc:docMk/>
            <pc:sldMk cId="205748889" sldId="310"/>
            <ac:spMk id="3" creationId="{3A0D44D0-4811-8650-3017-C75694F1FCB2}"/>
          </ac:spMkLst>
        </pc:spChg>
      </pc:sldChg>
      <pc:sldChg chg="modSp new del mod">
        <pc:chgData name="Gry-Lene Johansen" userId="acbf094c-51cb-4117-b367-2a5f9274475b" providerId="ADAL" clId="{64B41A9E-7FDB-4381-A242-ABBAE754035F}" dt="2023-10-16T13:23:50.210" v="2111" actId="47"/>
        <pc:sldMkLst>
          <pc:docMk/>
          <pc:sldMk cId="1282527934" sldId="311"/>
        </pc:sldMkLst>
        <pc:spChg chg="mod">
          <ac:chgData name="Gry-Lene Johansen" userId="acbf094c-51cb-4117-b367-2a5f9274475b" providerId="ADAL" clId="{64B41A9E-7FDB-4381-A242-ABBAE754035F}" dt="2023-10-16T09:17:10.056" v="1079" actId="20577"/>
          <ac:spMkLst>
            <pc:docMk/>
            <pc:sldMk cId="1282527934" sldId="311"/>
            <ac:spMk id="2" creationId="{7911E67B-F29E-F4CC-8840-1B84DEE60AB2}"/>
          </ac:spMkLst>
        </pc:spChg>
        <pc:spChg chg="mod">
          <ac:chgData name="Gry-Lene Johansen" userId="acbf094c-51cb-4117-b367-2a5f9274475b" providerId="ADAL" clId="{64B41A9E-7FDB-4381-A242-ABBAE754035F}" dt="2023-10-16T09:19:23.952" v="1123" actId="20577"/>
          <ac:spMkLst>
            <pc:docMk/>
            <pc:sldMk cId="1282527934" sldId="311"/>
            <ac:spMk id="3" creationId="{EF6F4E51-D66E-2A31-5F02-B4400A566F9A}"/>
          </ac:spMkLst>
        </pc:spChg>
      </pc:sldChg>
      <pc:sldChg chg="addSp delSp modSp new mod modNotesTx">
        <pc:chgData name="Gry-Lene Johansen" userId="acbf094c-51cb-4117-b367-2a5f9274475b" providerId="ADAL" clId="{64B41A9E-7FDB-4381-A242-ABBAE754035F}" dt="2023-10-18T10:18:31.229" v="3952" actId="313"/>
        <pc:sldMkLst>
          <pc:docMk/>
          <pc:sldMk cId="3144618843" sldId="312"/>
        </pc:sldMkLst>
        <pc:spChg chg="mod">
          <ac:chgData name="Gry-Lene Johansen" userId="acbf094c-51cb-4117-b367-2a5f9274475b" providerId="ADAL" clId="{64B41A9E-7FDB-4381-A242-ABBAE754035F}" dt="2023-10-16T09:15:00.079" v="1018" actId="20577"/>
          <ac:spMkLst>
            <pc:docMk/>
            <pc:sldMk cId="3144618843" sldId="312"/>
            <ac:spMk id="2" creationId="{202A226A-782B-ED3E-B7E5-81C138884649}"/>
          </ac:spMkLst>
        </pc:spChg>
        <pc:spChg chg="mod">
          <ac:chgData name="Gry-Lene Johansen" userId="acbf094c-51cb-4117-b367-2a5f9274475b" providerId="ADAL" clId="{64B41A9E-7FDB-4381-A242-ABBAE754035F}" dt="2023-10-18T09:26:43.101" v="3775" actId="20577"/>
          <ac:spMkLst>
            <pc:docMk/>
            <pc:sldMk cId="3144618843" sldId="312"/>
            <ac:spMk id="3" creationId="{FF76F754-8BBE-61B8-E782-69EF58EEFAEE}"/>
          </ac:spMkLst>
        </pc:spChg>
        <pc:spChg chg="add del mod">
          <ac:chgData name="Gry-Lene Johansen" userId="acbf094c-51cb-4117-b367-2a5f9274475b" providerId="ADAL" clId="{64B41A9E-7FDB-4381-A242-ABBAE754035F}" dt="2023-10-18T06:17:11.342" v="3241" actId="478"/>
          <ac:spMkLst>
            <pc:docMk/>
            <pc:sldMk cId="3144618843" sldId="312"/>
            <ac:spMk id="4" creationId="{ECB6B5C7-172F-FEE7-1C9B-1359E5791B24}"/>
          </ac:spMkLst>
        </pc:spChg>
      </pc:sldChg>
      <pc:sldChg chg="new del">
        <pc:chgData name="Gry-Lene Johansen" userId="acbf094c-51cb-4117-b367-2a5f9274475b" providerId="ADAL" clId="{64B41A9E-7FDB-4381-A242-ABBAE754035F}" dt="2023-10-16T10:01:46.983" v="1745" actId="47"/>
        <pc:sldMkLst>
          <pc:docMk/>
          <pc:sldMk cId="1730814675" sldId="313"/>
        </pc:sldMkLst>
      </pc:sldChg>
      <pc:sldChg chg="addSp delSp modSp new mod modClrScheme chgLayout">
        <pc:chgData name="Gry-Lene Johansen" userId="acbf094c-51cb-4117-b367-2a5f9274475b" providerId="ADAL" clId="{64B41A9E-7FDB-4381-A242-ABBAE754035F}" dt="2023-10-17T12:49:26.630" v="3178" actId="20577"/>
        <pc:sldMkLst>
          <pc:docMk/>
          <pc:sldMk cId="2097537290" sldId="314"/>
        </pc:sldMkLst>
        <pc:spChg chg="del mod ord">
          <ac:chgData name="Gry-Lene Johansen" userId="acbf094c-51cb-4117-b367-2a5f9274475b" providerId="ADAL" clId="{64B41A9E-7FDB-4381-A242-ABBAE754035F}" dt="2023-10-16T09:21:37.144" v="1227" actId="700"/>
          <ac:spMkLst>
            <pc:docMk/>
            <pc:sldMk cId="2097537290" sldId="314"/>
            <ac:spMk id="2" creationId="{E2F08834-A888-23FD-4D32-CD99C217EBC5}"/>
          </ac:spMkLst>
        </pc:spChg>
        <pc:spChg chg="del mod ord">
          <ac:chgData name="Gry-Lene Johansen" userId="acbf094c-51cb-4117-b367-2a5f9274475b" providerId="ADAL" clId="{64B41A9E-7FDB-4381-A242-ABBAE754035F}" dt="2023-10-16T09:21:37.144" v="1227" actId="700"/>
          <ac:spMkLst>
            <pc:docMk/>
            <pc:sldMk cId="2097537290" sldId="314"/>
            <ac:spMk id="3" creationId="{E3AAEC93-67E9-3E52-FE97-A23DC04C3AC9}"/>
          </ac:spMkLst>
        </pc:spChg>
        <pc:spChg chg="add mod ord">
          <ac:chgData name="Gry-Lene Johansen" userId="acbf094c-51cb-4117-b367-2a5f9274475b" providerId="ADAL" clId="{64B41A9E-7FDB-4381-A242-ABBAE754035F}" dt="2023-10-17T12:32:55.145" v="2598" actId="20577"/>
          <ac:spMkLst>
            <pc:docMk/>
            <pc:sldMk cId="2097537290" sldId="314"/>
            <ac:spMk id="4" creationId="{916CD5CC-D401-55B7-C69A-DA430AEAB7D1}"/>
          </ac:spMkLst>
        </pc:spChg>
        <pc:spChg chg="add mod ord">
          <ac:chgData name="Gry-Lene Johansen" userId="acbf094c-51cb-4117-b367-2a5f9274475b" providerId="ADAL" clId="{64B41A9E-7FDB-4381-A242-ABBAE754035F}" dt="2023-10-17T12:49:26.630" v="3178" actId="20577"/>
          <ac:spMkLst>
            <pc:docMk/>
            <pc:sldMk cId="2097537290" sldId="314"/>
            <ac:spMk id="5" creationId="{CC01E489-B812-696A-3B07-8D0B9D3B9273}"/>
          </ac:spMkLst>
        </pc:spChg>
      </pc:sldChg>
      <pc:sldChg chg="addSp delSp modSp new del mod">
        <pc:chgData name="Gry-Lene Johansen" userId="acbf094c-51cb-4117-b367-2a5f9274475b" providerId="ADAL" clId="{64B41A9E-7FDB-4381-A242-ABBAE754035F}" dt="2023-10-16T09:59:23.987" v="1732" actId="47"/>
        <pc:sldMkLst>
          <pc:docMk/>
          <pc:sldMk cId="2285055546" sldId="315"/>
        </pc:sldMkLst>
        <pc:spChg chg="del">
          <ac:chgData name="Gry-Lene Johansen" userId="acbf094c-51cb-4117-b367-2a5f9274475b" providerId="ADAL" clId="{64B41A9E-7FDB-4381-A242-ABBAE754035F}" dt="2023-10-16T09:25:05.168" v="1395" actId="478"/>
          <ac:spMkLst>
            <pc:docMk/>
            <pc:sldMk cId="2285055546" sldId="315"/>
            <ac:spMk id="2" creationId="{6EE76A00-7315-D42B-4FFC-E3ED5B93CFB3}"/>
          </ac:spMkLst>
        </pc:spChg>
        <pc:spChg chg="del">
          <ac:chgData name="Gry-Lene Johansen" userId="acbf094c-51cb-4117-b367-2a5f9274475b" providerId="ADAL" clId="{64B41A9E-7FDB-4381-A242-ABBAE754035F}" dt="2023-10-16T09:23:51.024" v="1390"/>
          <ac:spMkLst>
            <pc:docMk/>
            <pc:sldMk cId="2285055546" sldId="315"/>
            <ac:spMk id="3" creationId="{AC17349B-8577-43FB-C138-B99FF6AED3E0}"/>
          </ac:spMkLst>
        </pc:spChg>
        <pc:picChg chg="add mod">
          <ac:chgData name="Gry-Lene Johansen" userId="acbf094c-51cb-4117-b367-2a5f9274475b" providerId="ADAL" clId="{64B41A9E-7FDB-4381-A242-ABBAE754035F}" dt="2023-10-16T09:25:02.505" v="1394" actId="1076"/>
          <ac:picMkLst>
            <pc:docMk/>
            <pc:sldMk cId="2285055546" sldId="315"/>
            <ac:picMk id="4" creationId="{4D9AE04C-715E-4E89-5080-B451FF778C78}"/>
          </ac:picMkLst>
        </pc:picChg>
      </pc:sldChg>
      <pc:sldChg chg="addSp delSp modSp add del mod">
        <pc:chgData name="Gry-Lene Johansen" userId="acbf094c-51cb-4117-b367-2a5f9274475b" providerId="ADAL" clId="{64B41A9E-7FDB-4381-A242-ABBAE754035F}" dt="2023-10-16T09:59:29.955" v="1733" actId="47"/>
        <pc:sldMkLst>
          <pc:docMk/>
          <pc:sldMk cId="243488390" sldId="316"/>
        </pc:sldMkLst>
        <pc:spChg chg="mod">
          <ac:chgData name="Gry-Lene Johansen" userId="acbf094c-51cb-4117-b367-2a5f9274475b" providerId="ADAL" clId="{64B41A9E-7FDB-4381-A242-ABBAE754035F}" dt="2023-10-16T09:23:43.665" v="1388" actId="20577"/>
          <ac:spMkLst>
            <pc:docMk/>
            <pc:sldMk cId="243488390" sldId="316"/>
            <ac:spMk id="2" creationId="{7BC3B3F1-3F82-9077-7588-80279A25F8B1}"/>
          </ac:spMkLst>
        </pc:spChg>
        <pc:spChg chg="del mod">
          <ac:chgData name="Gry-Lene Johansen" userId="acbf094c-51cb-4117-b367-2a5f9274475b" providerId="ADAL" clId="{64B41A9E-7FDB-4381-A242-ABBAE754035F}" dt="2023-10-16T09:23:43.633" v="1371"/>
          <ac:spMkLst>
            <pc:docMk/>
            <pc:sldMk cId="243488390" sldId="316"/>
            <ac:spMk id="3" creationId="{3AC03FD5-48D1-210A-C300-E936FAA74F2C}"/>
          </ac:spMkLst>
        </pc:spChg>
        <pc:spChg chg="add mod">
          <ac:chgData name="Gry-Lene Johansen" userId="acbf094c-51cb-4117-b367-2a5f9274475b" providerId="ADAL" clId="{64B41A9E-7FDB-4381-A242-ABBAE754035F}" dt="2023-10-16T09:23:46.545" v="1389" actId="21"/>
          <ac:spMkLst>
            <pc:docMk/>
            <pc:sldMk cId="243488390" sldId="316"/>
            <ac:spMk id="8" creationId="{06DF071D-DB77-96D5-87B6-23FD6F51BA8A}"/>
          </ac:spMkLst>
        </pc:spChg>
        <pc:picChg chg="add del mod">
          <ac:chgData name="Gry-Lene Johansen" userId="acbf094c-51cb-4117-b367-2a5f9274475b" providerId="ADAL" clId="{64B41A9E-7FDB-4381-A242-ABBAE754035F}" dt="2023-10-16T09:23:46.545" v="1389" actId="21"/>
          <ac:picMkLst>
            <pc:docMk/>
            <pc:sldMk cId="243488390" sldId="316"/>
            <ac:picMk id="6" creationId="{DCB03C58-7003-0AA1-94CC-61BA0429F759}"/>
          </ac:picMkLst>
        </pc:picChg>
      </pc:sldChg>
      <pc:sldChg chg="addSp delSp modSp new del mod ord modClrScheme chgLayout">
        <pc:chgData name="Gry-Lene Johansen" userId="acbf094c-51cb-4117-b367-2a5f9274475b" providerId="ADAL" clId="{64B41A9E-7FDB-4381-A242-ABBAE754035F}" dt="2023-10-17T07:31:51.171" v="2311" actId="47"/>
        <pc:sldMkLst>
          <pc:docMk/>
          <pc:sldMk cId="374063336" sldId="317"/>
        </pc:sldMkLst>
        <pc:spChg chg="del">
          <ac:chgData name="Gry-Lene Johansen" userId="acbf094c-51cb-4117-b367-2a5f9274475b" providerId="ADAL" clId="{64B41A9E-7FDB-4381-A242-ABBAE754035F}" dt="2023-10-16T09:25:43.152" v="1420" actId="700"/>
          <ac:spMkLst>
            <pc:docMk/>
            <pc:sldMk cId="374063336" sldId="317"/>
            <ac:spMk id="2" creationId="{8CD9360F-DF97-26F9-551B-8FB54CCC72AD}"/>
          </ac:spMkLst>
        </pc:spChg>
        <pc:spChg chg="del">
          <ac:chgData name="Gry-Lene Johansen" userId="acbf094c-51cb-4117-b367-2a5f9274475b" providerId="ADAL" clId="{64B41A9E-7FDB-4381-A242-ABBAE754035F}" dt="2023-10-16T09:25:43.152" v="1420" actId="700"/>
          <ac:spMkLst>
            <pc:docMk/>
            <pc:sldMk cId="374063336" sldId="317"/>
            <ac:spMk id="3" creationId="{07575A4C-2E8A-D0E9-9FAB-03619F2989E9}"/>
          </ac:spMkLst>
        </pc:spChg>
        <pc:picChg chg="add mod">
          <ac:chgData name="Gry-Lene Johansen" userId="acbf094c-51cb-4117-b367-2a5f9274475b" providerId="ADAL" clId="{64B41A9E-7FDB-4381-A242-ABBAE754035F}" dt="2023-10-16T09:25:55.416" v="1426" actId="1076"/>
          <ac:picMkLst>
            <pc:docMk/>
            <pc:sldMk cId="374063336" sldId="317"/>
            <ac:picMk id="4" creationId="{45C8C24A-FA46-2E14-3D97-323420517248}"/>
          </ac:picMkLst>
        </pc:picChg>
      </pc:sldChg>
      <pc:sldChg chg="add del">
        <pc:chgData name="Gry-Lene Johansen" userId="acbf094c-51cb-4117-b367-2a5f9274475b" providerId="ADAL" clId="{64B41A9E-7FDB-4381-A242-ABBAE754035F}" dt="2023-10-16T13:14:14.121" v="1761" actId="47"/>
        <pc:sldMkLst>
          <pc:docMk/>
          <pc:sldMk cId="2435995011" sldId="318"/>
        </pc:sldMkLst>
      </pc:sldChg>
      <pc:sldChg chg="modSp add mod">
        <pc:chgData name="Gry-Lene Johansen" userId="acbf094c-51cb-4117-b367-2a5f9274475b" providerId="ADAL" clId="{64B41A9E-7FDB-4381-A242-ABBAE754035F}" dt="2023-10-16T13:23:47.219" v="2110" actId="20577"/>
        <pc:sldMkLst>
          <pc:docMk/>
          <pc:sldMk cId="3341912517" sldId="318"/>
        </pc:sldMkLst>
        <pc:spChg chg="mod">
          <ac:chgData name="Gry-Lene Johansen" userId="acbf094c-51cb-4117-b367-2a5f9274475b" providerId="ADAL" clId="{64B41A9E-7FDB-4381-A242-ABBAE754035F}" dt="2023-10-16T13:23:39.416" v="2109" actId="20577"/>
          <ac:spMkLst>
            <pc:docMk/>
            <pc:sldMk cId="3341912517" sldId="318"/>
            <ac:spMk id="4" creationId="{A6CADC98-C797-09A8-416E-85855D521EDE}"/>
          </ac:spMkLst>
        </pc:spChg>
        <pc:spChg chg="mod">
          <ac:chgData name="Gry-Lene Johansen" userId="acbf094c-51cb-4117-b367-2a5f9274475b" providerId="ADAL" clId="{64B41A9E-7FDB-4381-A242-ABBAE754035F}" dt="2023-10-16T13:23:47.219" v="2110" actId="20577"/>
          <ac:spMkLst>
            <pc:docMk/>
            <pc:sldMk cId="3341912517" sldId="318"/>
            <ac:spMk id="5" creationId="{C03A0A4D-7AD1-DED8-B52F-AE4405105658}"/>
          </ac:spMkLst>
        </pc:spChg>
      </pc:sldChg>
      <pc:sldChg chg="addSp delSp modSp add del mod">
        <pc:chgData name="Gry-Lene Johansen" userId="acbf094c-51cb-4117-b367-2a5f9274475b" providerId="ADAL" clId="{64B41A9E-7FDB-4381-A242-ABBAE754035F}" dt="2023-10-16T09:59:30.585" v="1734" actId="47"/>
        <pc:sldMkLst>
          <pc:docMk/>
          <pc:sldMk cId="3842854256" sldId="318"/>
        </pc:sldMkLst>
        <pc:spChg chg="mod">
          <ac:chgData name="Gry-Lene Johansen" userId="acbf094c-51cb-4117-b367-2a5f9274475b" providerId="ADAL" clId="{64B41A9E-7FDB-4381-A242-ABBAE754035F}" dt="2023-10-16T09:25:33.290" v="1418" actId="20577"/>
          <ac:spMkLst>
            <pc:docMk/>
            <pc:sldMk cId="3842854256" sldId="318"/>
            <ac:spMk id="2" creationId="{916C99D4-B113-59E1-2446-5433ED264B35}"/>
          </ac:spMkLst>
        </pc:spChg>
        <pc:spChg chg="del mod">
          <ac:chgData name="Gry-Lene Johansen" userId="acbf094c-51cb-4117-b367-2a5f9274475b" providerId="ADAL" clId="{64B41A9E-7FDB-4381-A242-ABBAE754035F}" dt="2023-10-16T09:25:33.266" v="1401"/>
          <ac:spMkLst>
            <pc:docMk/>
            <pc:sldMk cId="3842854256" sldId="318"/>
            <ac:spMk id="3" creationId="{1DA9FDAB-A8A9-EC22-CFE5-26AD9FC1BBBD}"/>
          </ac:spMkLst>
        </pc:spChg>
        <pc:spChg chg="add mod">
          <ac:chgData name="Gry-Lene Johansen" userId="acbf094c-51cb-4117-b367-2a5f9274475b" providerId="ADAL" clId="{64B41A9E-7FDB-4381-A242-ABBAE754035F}" dt="2023-10-16T09:25:37.175" v="1419" actId="21"/>
          <ac:spMkLst>
            <pc:docMk/>
            <pc:sldMk cId="3842854256" sldId="318"/>
            <ac:spMk id="8" creationId="{BF232306-A6B2-FEFB-596C-30887530000D}"/>
          </ac:spMkLst>
        </pc:spChg>
        <pc:picChg chg="add del mod">
          <ac:chgData name="Gry-Lene Johansen" userId="acbf094c-51cb-4117-b367-2a5f9274475b" providerId="ADAL" clId="{64B41A9E-7FDB-4381-A242-ABBAE754035F}" dt="2023-10-16T09:25:37.175" v="1419" actId="21"/>
          <ac:picMkLst>
            <pc:docMk/>
            <pc:sldMk cId="3842854256" sldId="318"/>
            <ac:picMk id="6" creationId="{3AAEB16A-FB70-7232-48E4-7DFD08B78411}"/>
          </ac:picMkLst>
        </pc:picChg>
      </pc:sldChg>
      <pc:sldChg chg="addSp delSp modSp new mod modClrScheme chgLayout">
        <pc:chgData name="Gry-Lene Johansen" userId="acbf094c-51cb-4117-b367-2a5f9274475b" providerId="ADAL" clId="{64B41A9E-7FDB-4381-A242-ABBAE754035F}" dt="2023-10-16T13:24:41.450" v="2150" actId="20577"/>
        <pc:sldMkLst>
          <pc:docMk/>
          <pc:sldMk cId="37927648" sldId="319"/>
        </pc:sldMkLst>
        <pc:spChg chg="del mod ord">
          <ac:chgData name="Gry-Lene Johansen" userId="acbf094c-51cb-4117-b367-2a5f9274475b" providerId="ADAL" clId="{64B41A9E-7FDB-4381-A242-ABBAE754035F}" dt="2023-10-16T13:24:30.538" v="2114" actId="700"/>
          <ac:spMkLst>
            <pc:docMk/>
            <pc:sldMk cId="37927648" sldId="319"/>
            <ac:spMk id="2" creationId="{1C23D0AC-FDB3-AB7A-3161-53750DF99BC0}"/>
          </ac:spMkLst>
        </pc:spChg>
        <pc:spChg chg="del mod ord">
          <ac:chgData name="Gry-Lene Johansen" userId="acbf094c-51cb-4117-b367-2a5f9274475b" providerId="ADAL" clId="{64B41A9E-7FDB-4381-A242-ABBAE754035F}" dt="2023-10-16T13:24:30.538" v="2114" actId="700"/>
          <ac:spMkLst>
            <pc:docMk/>
            <pc:sldMk cId="37927648" sldId="319"/>
            <ac:spMk id="3" creationId="{51CDF682-8C4A-5B7C-61CF-E4B120F55CF5}"/>
          </ac:spMkLst>
        </pc:spChg>
        <pc:spChg chg="add mod ord">
          <ac:chgData name="Gry-Lene Johansen" userId="acbf094c-51cb-4117-b367-2a5f9274475b" providerId="ADAL" clId="{64B41A9E-7FDB-4381-A242-ABBAE754035F}" dt="2023-10-16T13:24:41.450" v="2150" actId="20577"/>
          <ac:spMkLst>
            <pc:docMk/>
            <pc:sldMk cId="37927648" sldId="319"/>
            <ac:spMk id="4" creationId="{FC4CC2B4-DE2E-6299-A4AF-BE909B7D19FC}"/>
          </ac:spMkLst>
        </pc:spChg>
        <pc:spChg chg="add mod ord">
          <ac:chgData name="Gry-Lene Johansen" userId="acbf094c-51cb-4117-b367-2a5f9274475b" providerId="ADAL" clId="{64B41A9E-7FDB-4381-A242-ABBAE754035F}" dt="2023-10-16T13:24:34.630" v="2122" actId="20577"/>
          <ac:spMkLst>
            <pc:docMk/>
            <pc:sldMk cId="37927648" sldId="319"/>
            <ac:spMk id="5" creationId="{FFEB5F73-C465-6C11-7B67-E9AD01A8B286}"/>
          </ac:spMkLst>
        </pc:spChg>
      </pc:sldChg>
      <pc:sldChg chg="add del">
        <pc:chgData name="Gry-Lene Johansen" userId="acbf094c-51cb-4117-b367-2a5f9274475b" providerId="ADAL" clId="{64B41A9E-7FDB-4381-A242-ABBAE754035F}" dt="2023-10-16T13:13:34.510" v="1755" actId="47"/>
        <pc:sldMkLst>
          <pc:docMk/>
          <pc:sldMk cId="4017350600" sldId="319"/>
        </pc:sldMkLst>
      </pc:sldChg>
      <pc:sldChg chg="add del">
        <pc:chgData name="Gry-Lene Johansen" userId="acbf094c-51cb-4117-b367-2a5f9274475b" providerId="ADAL" clId="{64B41A9E-7FDB-4381-A242-ABBAE754035F}" dt="2023-10-16T13:25:15.972" v="2152" actId="47"/>
        <pc:sldMkLst>
          <pc:docMk/>
          <pc:sldMk cId="94835579" sldId="2576"/>
        </pc:sldMkLst>
      </pc:sldChg>
      <pc:sldChg chg="add">
        <pc:chgData name="Gry-Lene Johansen" userId="acbf094c-51cb-4117-b367-2a5f9274475b" providerId="ADAL" clId="{64B41A9E-7FDB-4381-A242-ABBAE754035F}" dt="2023-10-16T13:25:08.815" v="2151"/>
        <pc:sldMkLst>
          <pc:docMk/>
          <pc:sldMk cId="1267890961" sldId="2587"/>
        </pc:sldMkLst>
      </pc:sldChg>
      <pc:sldChg chg="add">
        <pc:chgData name="Gry-Lene Johansen" userId="acbf094c-51cb-4117-b367-2a5f9274475b" providerId="ADAL" clId="{64B41A9E-7FDB-4381-A242-ABBAE754035F}" dt="2023-10-16T13:25:08.815" v="2151"/>
        <pc:sldMkLst>
          <pc:docMk/>
          <pc:sldMk cId="1501152216" sldId="2593"/>
        </pc:sldMkLst>
      </pc:sldChg>
      <pc:sldChg chg="add">
        <pc:chgData name="Gry-Lene Johansen" userId="acbf094c-51cb-4117-b367-2a5f9274475b" providerId="ADAL" clId="{64B41A9E-7FDB-4381-A242-ABBAE754035F}" dt="2023-10-16T13:25:08.815" v="2151"/>
        <pc:sldMkLst>
          <pc:docMk/>
          <pc:sldMk cId="1848329217" sldId="2594"/>
        </pc:sldMkLst>
      </pc:sldChg>
      <pc:sldChg chg="addSp modSp add mod">
        <pc:chgData name="Gry-Lene Johansen" userId="acbf094c-51cb-4117-b367-2a5f9274475b" providerId="ADAL" clId="{64B41A9E-7FDB-4381-A242-ABBAE754035F}" dt="2023-10-17T11:22:19.199" v="2471" actId="14100"/>
        <pc:sldMkLst>
          <pc:docMk/>
          <pc:sldMk cId="275923495" sldId="2595"/>
        </pc:sldMkLst>
        <pc:spChg chg="add mod">
          <ac:chgData name="Gry-Lene Johansen" userId="acbf094c-51cb-4117-b367-2a5f9274475b" providerId="ADAL" clId="{64B41A9E-7FDB-4381-A242-ABBAE754035F}" dt="2023-10-16T13:26:43.649" v="2163" actId="13822"/>
          <ac:spMkLst>
            <pc:docMk/>
            <pc:sldMk cId="275923495" sldId="2595"/>
            <ac:spMk id="53" creationId="{DCD88444-0385-AE7A-C421-20DCF7993490}"/>
          </ac:spMkLst>
        </pc:spChg>
        <pc:spChg chg="mod">
          <ac:chgData name="Gry-Lene Johansen" userId="acbf094c-51cb-4117-b367-2a5f9274475b" providerId="ADAL" clId="{64B41A9E-7FDB-4381-A242-ABBAE754035F}" dt="2023-10-17T11:22:19.199" v="2471" actId="14100"/>
          <ac:spMkLst>
            <pc:docMk/>
            <pc:sldMk cId="275923495" sldId="2595"/>
            <ac:spMk id="55" creationId="{4B03F160-DA4C-A3B0-580D-278EE600E3CC}"/>
          </ac:spMkLst>
        </pc:spChg>
        <pc:spChg chg="mod">
          <ac:chgData name="Gry-Lene Johansen" userId="acbf094c-51cb-4117-b367-2a5f9274475b" providerId="ADAL" clId="{64B41A9E-7FDB-4381-A242-ABBAE754035F}" dt="2023-10-17T11:21:27.488" v="2401" actId="20577"/>
          <ac:spMkLst>
            <pc:docMk/>
            <pc:sldMk cId="275923495" sldId="2595"/>
            <ac:spMk id="56" creationId="{5B84837F-15B2-9378-4B93-145D5FDE1956}"/>
          </ac:spMkLst>
        </pc:spChg>
      </pc:sldChg>
      <pc:sldChg chg="add">
        <pc:chgData name="Gry-Lene Johansen" userId="acbf094c-51cb-4117-b367-2a5f9274475b" providerId="ADAL" clId="{64B41A9E-7FDB-4381-A242-ABBAE754035F}" dt="2023-10-16T13:25:08.815" v="2151"/>
        <pc:sldMkLst>
          <pc:docMk/>
          <pc:sldMk cId="1741705886" sldId="2596"/>
        </pc:sldMkLst>
      </pc:sldChg>
      <pc:sldChg chg="add del">
        <pc:chgData name="Gry-Lene Johansen" userId="acbf094c-51cb-4117-b367-2a5f9274475b" providerId="ADAL" clId="{64B41A9E-7FDB-4381-A242-ABBAE754035F}" dt="2023-10-17T11:31:16.797" v="2472" actId="47"/>
        <pc:sldMkLst>
          <pc:docMk/>
          <pc:sldMk cId="848909490" sldId="2597"/>
        </pc:sldMkLst>
      </pc:sldChg>
      <pc:sldChg chg="new del">
        <pc:chgData name="Gry-Lene Johansen" userId="acbf094c-51cb-4117-b367-2a5f9274475b" providerId="ADAL" clId="{64B41A9E-7FDB-4381-A242-ABBAE754035F}" dt="2023-10-18T09:25:20.326" v="3430" actId="47"/>
        <pc:sldMkLst>
          <pc:docMk/>
          <pc:sldMk cId="1831639924" sldId="2597"/>
        </pc:sldMkLst>
      </pc:sldChg>
      <pc:sldChg chg="add">
        <pc:chgData name="Gry-Lene Johansen" userId="acbf094c-51cb-4117-b367-2a5f9274475b" providerId="ADAL" clId="{64B41A9E-7FDB-4381-A242-ABBAE754035F}" dt="2023-10-18T09:24:52.909" v="3427"/>
        <pc:sldMkLst>
          <pc:docMk/>
          <pc:sldMk cId="332269827" sldId="2598"/>
        </pc:sldMkLst>
      </pc:sldChg>
      <pc:sldChg chg="add">
        <pc:chgData name="Gry-Lene Johansen" userId="acbf094c-51cb-4117-b367-2a5f9274475b" providerId="ADAL" clId="{64B41A9E-7FDB-4381-A242-ABBAE754035F}" dt="2023-10-18T09:24:52.909" v="3427"/>
        <pc:sldMkLst>
          <pc:docMk/>
          <pc:sldMk cId="1924084478" sldId="5066"/>
        </pc:sldMkLst>
      </pc:sldChg>
      <pc:sldChg chg="add">
        <pc:chgData name="Gry-Lene Johansen" userId="acbf094c-51cb-4117-b367-2a5f9274475b" providerId="ADAL" clId="{64B41A9E-7FDB-4381-A242-ABBAE754035F}" dt="2023-10-18T09:24:52.909" v="3427"/>
        <pc:sldMkLst>
          <pc:docMk/>
          <pc:sldMk cId="1318331263" sldId="5068"/>
        </pc:sldMkLst>
      </pc:sldChg>
      <pc:sldChg chg="add">
        <pc:chgData name="Gry-Lene Johansen" userId="acbf094c-51cb-4117-b367-2a5f9274475b" providerId="ADAL" clId="{64B41A9E-7FDB-4381-A242-ABBAE754035F}" dt="2023-10-18T09:24:52.909" v="3427"/>
        <pc:sldMkLst>
          <pc:docMk/>
          <pc:sldMk cId="1449224577" sldId="2147309328"/>
        </pc:sldMkLst>
      </pc:sldChg>
      <pc:sldChg chg="add">
        <pc:chgData name="Gry-Lene Johansen" userId="acbf094c-51cb-4117-b367-2a5f9274475b" providerId="ADAL" clId="{64B41A9E-7FDB-4381-A242-ABBAE754035F}" dt="2023-10-18T09:24:52.909" v="3427"/>
        <pc:sldMkLst>
          <pc:docMk/>
          <pc:sldMk cId="1306702433" sldId="2147309357"/>
        </pc:sldMkLst>
      </pc:sldChg>
      <pc:sldChg chg="modSp add mod">
        <pc:chgData name="Gry-Lene Johansen" userId="acbf094c-51cb-4117-b367-2a5f9274475b" providerId="ADAL" clId="{64B41A9E-7FDB-4381-A242-ABBAE754035F}" dt="2023-10-18T09:24:52.982" v="3428" actId="27636"/>
        <pc:sldMkLst>
          <pc:docMk/>
          <pc:sldMk cId="1340754177" sldId="2147309361"/>
        </pc:sldMkLst>
        <pc:spChg chg="mod">
          <ac:chgData name="Gry-Lene Johansen" userId="acbf094c-51cb-4117-b367-2a5f9274475b" providerId="ADAL" clId="{64B41A9E-7FDB-4381-A242-ABBAE754035F}" dt="2023-10-18T09:24:52.982" v="3428" actId="27636"/>
          <ac:spMkLst>
            <pc:docMk/>
            <pc:sldMk cId="1340754177" sldId="2147309361"/>
            <ac:spMk id="3" creationId="{DC0B5DA8-0024-5A7F-118E-1C16432C3098}"/>
          </ac:spMkLst>
        </pc:spChg>
      </pc:sldChg>
      <pc:sldChg chg="add">
        <pc:chgData name="Gry-Lene Johansen" userId="acbf094c-51cb-4117-b367-2a5f9274475b" providerId="ADAL" clId="{64B41A9E-7FDB-4381-A242-ABBAE754035F}" dt="2023-10-18T09:24:52.909" v="3427"/>
        <pc:sldMkLst>
          <pc:docMk/>
          <pc:sldMk cId="2974965139" sldId="2147309362"/>
        </pc:sldMkLst>
      </pc:sldChg>
      <pc:sldChg chg="add">
        <pc:chgData name="Gry-Lene Johansen" userId="acbf094c-51cb-4117-b367-2a5f9274475b" providerId="ADAL" clId="{64B41A9E-7FDB-4381-A242-ABBAE754035F}" dt="2023-10-18T09:24:52.909" v="3427"/>
        <pc:sldMkLst>
          <pc:docMk/>
          <pc:sldMk cId="503328980" sldId="2147309363"/>
        </pc:sldMkLst>
      </pc:sldChg>
      <pc:sldChg chg="add">
        <pc:chgData name="Gry-Lene Johansen" userId="acbf094c-51cb-4117-b367-2a5f9274475b" providerId="ADAL" clId="{64B41A9E-7FDB-4381-A242-ABBAE754035F}" dt="2023-10-18T09:24:52.909" v="3427"/>
        <pc:sldMkLst>
          <pc:docMk/>
          <pc:sldMk cId="1788311502" sldId="2147309364"/>
        </pc:sldMkLst>
      </pc:sldChg>
      <pc:sldChg chg="delSp modSp add mod">
        <pc:chgData name="Gry-Lene Johansen" userId="acbf094c-51cb-4117-b367-2a5f9274475b" providerId="ADAL" clId="{64B41A9E-7FDB-4381-A242-ABBAE754035F}" dt="2023-10-18T11:59:12.747" v="4042" actId="207"/>
        <pc:sldMkLst>
          <pc:docMk/>
          <pc:sldMk cId="2866679123" sldId="2147309365"/>
        </pc:sldMkLst>
        <pc:spChg chg="mod">
          <ac:chgData name="Gry-Lene Johansen" userId="acbf094c-51cb-4117-b367-2a5f9274475b" providerId="ADAL" clId="{64B41A9E-7FDB-4381-A242-ABBAE754035F}" dt="2023-10-18T11:59:12.747" v="4042" actId="207"/>
          <ac:spMkLst>
            <pc:docMk/>
            <pc:sldMk cId="2866679123" sldId="2147309365"/>
            <ac:spMk id="2" creationId="{00000000-0000-0000-0000-000000000000}"/>
          </ac:spMkLst>
        </pc:spChg>
        <pc:spChg chg="del">
          <ac:chgData name="Gry-Lene Johansen" userId="acbf094c-51cb-4117-b367-2a5f9274475b" providerId="ADAL" clId="{64B41A9E-7FDB-4381-A242-ABBAE754035F}" dt="2023-10-18T11:58:28.080" v="4016" actId="478"/>
          <ac:spMkLst>
            <pc:docMk/>
            <pc:sldMk cId="2866679123" sldId="2147309365"/>
            <ac:spMk id="3" creationId="{00000000-0000-0000-0000-000000000000}"/>
          </ac:spMkLst>
        </pc:spChg>
      </pc:sldChg>
      <pc:sldChg chg="modSp add mod">
        <pc:chgData name="Gry-Lene Johansen" userId="acbf094c-51cb-4117-b367-2a5f9274475b" providerId="ADAL" clId="{64B41A9E-7FDB-4381-A242-ABBAE754035F}" dt="2023-10-18T11:58:33.266" v="4017" actId="1076"/>
        <pc:sldMkLst>
          <pc:docMk/>
          <pc:sldMk cId="1255219095" sldId="2147309366"/>
        </pc:sldMkLst>
        <pc:spChg chg="mod">
          <ac:chgData name="Gry-Lene Johansen" userId="acbf094c-51cb-4117-b367-2a5f9274475b" providerId="ADAL" clId="{64B41A9E-7FDB-4381-A242-ABBAE754035F}" dt="2023-10-18T11:58:33.266" v="4017" actId="1076"/>
          <ac:spMkLst>
            <pc:docMk/>
            <pc:sldMk cId="1255219095" sldId="2147309366"/>
            <ac:spMk id="3" creationId="{20BD1264-9082-834A-A2C6-A3944D48986C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C295B7D-F857-4701-B417-8CA96F6BFFDD}" type="doc">
      <dgm:prSet loTypeId="urn:microsoft.com/office/officeart/2005/8/layout/hChevron3" loCatId="process" qsTypeId="urn:microsoft.com/office/officeart/2005/8/quickstyle/simple1" qsCatId="simple" csTypeId="urn:microsoft.com/office/officeart/2005/8/colors/accent1_4" csCatId="accent1" phldr="1"/>
      <dgm:spPr/>
    </dgm:pt>
    <dgm:pt modelId="{0D86B1FE-AC4F-4FD1-AA3C-F1D7B07E3891}">
      <dgm:prSet phldrT="[Text]" custT="1"/>
      <dgm:spPr/>
      <dgm:t>
        <a:bodyPr/>
        <a:lstStyle/>
        <a:p>
          <a:r>
            <a:rPr lang="nb-NO" sz="1600" b="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rPr>
            <a:t>Jan</a:t>
          </a:r>
        </a:p>
      </dgm:t>
    </dgm:pt>
    <dgm:pt modelId="{9786C803-8CC5-49F3-B443-4FD751F8C0F2}" type="parTrans" cxnId="{CF3A7C11-1D1F-4917-8C1E-F7A6905A066D}">
      <dgm:prSet/>
      <dgm:spPr/>
      <dgm:t>
        <a:bodyPr/>
        <a:lstStyle/>
        <a:p>
          <a:endParaRPr lang="nb-NO" b="1">
            <a:solidFill>
              <a:schemeClr val="bg1"/>
            </a:solidFill>
          </a:endParaRPr>
        </a:p>
      </dgm:t>
    </dgm:pt>
    <dgm:pt modelId="{D0EB1B8E-3D62-436B-81AE-22CFF478D2F7}" type="sibTrans" cxnId="{CF3A7C11-1D1F-4917-8C1E-F7A6905A066D}">
      <dgm:prSet/>
      <dgm:spPr/>
      <dgm:t>
        <a:bodyPr/>
        <a:lstStyle/>
        <a:p>
          <a:endParaRPr lang="nb-NO" b="1">
            <a:solidFill>
              <a:schemeClr val="bg1"/>
            </a:solidFill>
          </a:endParaRPr>
        </a:p>
      </dgm:t>
    </dgm:pt>
    <dgm:pt modelId="{97DD039A-6E5A-40AF-8817-8BECD499E1D2}">
      <dgm:prSet phldrT="[Text]" custT="1"/>
      <dgm:spPr/>
      <dgm:t>
        <a:bodyPr/>
        <a:lstStyle/>
        <a:p>
          <a:r>
            <a:rPr lang="nb-NO" sz="1600" b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rPr>
            <a:t>Feb</a:t>
          </a:r>
        </a:p>
      </dgm:t>
    </dgm:pt>
    <dgm:pt modelId="{2DE9AB6D-5608-41E5-8EE2-B72BA286AE64}" type="parTrans" cxnId="{CF24E739-EC0D-440F-A384-F98ECBC87BE3}">
      <dgm:prSet/>
      <dgm:spPr/>
      <dgm:t>
        <a:bodyPr/>
        <a:lstStyle/>
        <a:p>
          <a:endParaRPr lang="nb-NO" b="1">
            <a:solidFill>
              <a:schemeClr val="bg1"/>
            </a:solidFill>
          </a:endParaRPr>
        </a:p>
      </dgm:t>
    </dgm:pt>
    <dgm:pt modelId="{3E85B2B3-1759-4FE0-91CD-CCF04ACFDEA0}" type="sibTrans" cxnId="{CF24E739-EC0D-440F-A384-F98ECBC87BE3}">
      <dgm:prSet/>
      <dgm:spPr/>
      <dgm:t>
        <a:bodyPr/>
        <a:lstStyle/>
        <a:p>
          <a:endParaRPr lang="nb-NO" b="1">
            <a:solidFill>
              <a:schemeClr val="bg1"/>
            </a:solidFill>
          </a:endParaRPr>
        </a:p>
      </dgm:t>
    </dgm:pt>
    <dgm:pt modelId="{C4109414-31C0-4083-AFBC-0DA7D9E02CA5}">
      <dgm:prSet phldrT="[Text]" custT="1"/>
      <dgm:spPr/>
      <dgm:t>
        <a:bodyPr/>
        <a:lstStyle/>
        <a:p>
          <a:r>
            <a:rPr lang="nb-NO" sz="1600" b="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rPr>
            <a:t>Mar</a:t>
          </a:r>
        </a:p>
      </dgm:t>
    </dgm:pt>
    <dgm:pt modelId="{306C2B99-300B-44C4-B366-86CC00129EE1}" type="parTrans" cxnId="{6668B6E7-1C13-4DC7-A4D8-4E774C5F79A0}">
      <dgm:prSet/>
      <dgm:spPr/>
      <dgm:t>
        <a:bodyPr/>
        <a:lstStyle/>
        <a:p>
          <a:endParaRPr lang="nb-NO" b="1">
            <a:solidFill>
              <a:schemeClr val="bg1"/>
            </a:solidFill>
          </a:endParaRPr>
        </a:p>
      </dgm:t>
    </dgm:pt>
    <dgm:pt modelId="{D57F9888-59DD-4B8B-8001-885D841C0BC9}" type="sibTrans" cxnId="{6668B6E7-1C13-4DC7-A4D8-4E774C5F79A0}">
      <dgm:prSet/>
      <dgm:spPr/>
      <dgm:t>
        <a:bodyPr/>
        <a:lstStyle/>
        <a:p>
          <a:endParaRPr lang="nb-NO" b="1">
            <a:solidFill>
              <a:schemeClr val="bg1"/>
            </a:solidFill>
          </a:endParaRPr>
        </a:p>
      </dgm:t>
    </dgm:pt>
    <dgm:pt modelId="{B901B503-3290-41FB-B3F8-0B587FC33E3B}">
      <dgm:prSet phldrT="[Text]" custT="1"/>
      <dgm:spPr/>
      <dgm:t>
        <a:bodyPr/>
        <a:lstStyle/>
        <a:p>
          <a:r>
            <a:rPr lang="nb-NO" sz="1600" b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rPr>
            <a:t>Apr</a:t>
          </a:r>
        </a:p>
      </dgm:t>
    </dgm:pt>
    <dgm:pt modelId="{6D4F6CFE-717B-46CE-9876-7C904312C07F}" type="parTrans" cxnId="{56B06ACF-81EE-47CE-909C-8309BA40628F}">
      <dgm:prSet/>
      <dgm:spPr/>
      <dgm:t>
        <a:bodyPr/>
        <a:lstStyle/>
        <a:p>
          <a:endParaRPr lang="nb-NO" b="1">
            <a:solidFill>
              <a:schemeClr val="bg1"/>
            </a:solidFill>
          </a:endParaRPr>
        </a:p>
      </dgm:t>
    </dgm:pt>
    <dgm:pt modelId="{57454D4F-3791-4ABF-A2BC-076FD55B9CF3}" type="sibTrans" cxnId="{56B06ACF-81EE-47CE-909C-8309BA40628F}">
      <dgm:prSet/>
      <dgm:spPr/>
      <dgm:t>
        <a:bodyPr/>
        <a:lstStyle/>
        <a:p>
          <a:endParaRPr lang="nb-NO" b="1">
            <a:solidFill>
              <a:schemeClr val="bg1"/>
            </a:solidFill>
          </a:endParaRPr>
        </a:p>
      </dgm:t>
    </dgm:pt>
    <dgm:pt modelId="{6ADA94F4-E964-464C-B81A-A5997DE1D7EE}">
      <dgm:prSet phldrT="[Text]" custT="1"/>
      <dgm:spPr/>
      <dgm:t>
        <a:bodyPr/>
        <a:lstStyle/>
        <a:p>
          <a:r>
            <a:rPr lang="nb-NO" sz="1600" b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rPr>
            <a:t>Mai</a:t>
          </a:r>
        </a:p>
      </dgm:t>
    </dgm:pt>
    <dgm:pt modelId="{B8F8B226-D0E3-4D08-B384-255160124048}" type="parTrans" cxnId="{B2C53778-00A3-4ECB-B45E-D9A80FFF4430}">
      <dgm:prSet/>
      <dgm:spPr/>
      <dgm:t>
        <a:bodyPr/>
        <a:lstStyle/>
        <a:p>
          <a:endParaRPr lang="nb-NO" b="1">
            <a:solidFill>
              <a:schemeClr val="bg1"/>
            </a:solidFill>
          </a:endParaRPr>
        </a:p>
      </dgm:t>
    </dgm:pt>
    <dgm:pt modelId="{75DFA3E5-F7D5-4357-B890-DAE32F1ECAD2}" type="sibTrans" cxnId="{B2C53778-00A3-4ECB-B45E-D9A80FFF4430}">
      <dgm:prSet/>
      <dgm:spPr/>
      <dgm:t>
        <a:bodyPr/>
        <a:lstStyle/>
        <a:p>
          <a:endParaRPr lang="nb-NO" b="1">
            <a:solidFill>
              <a:schemeClr val="bg1"/>
            </a:solidFill>
          </a:endParaRPr>
        </a:p>
      </dgm:t>
    </dgm:pt>
    <dgm:pt modelId="{BBE09310-B4AE-4B0A-A01F-157614B446AF}">
      <dgm:prSet phldrT="[Text]" custT="1"/>
      <dgm:spPr/>
      <dgm:t>
        <a:bodyPr/>
        <a:lstStyle/>
        <a:p>
          <a:r>
            <a:rPr lang="nb-NO" sz="1600" b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rPr>
            <a:t>Jun</a:t>
          </a:r>
        </a:p>
      </dgm:t>
    </dgm:pt>
    <dgm:pt modelId="{58093D7E-E63E-4895-8BC2-606D5BC6CEFF}" type="parTrans" cxnId="{06E96791-C78B-4A04-B271-120309917277}">
      <dgm:prSet/>
      <dgm:spPr/>
      <dgm:t>
        <a:bodyPr/>
        <a:lstStyle/>
        <a:p>
          <a:endParaRPr lang="nb-NO" b="1">
            <a:solidFill>
              <a:schemeClr val="bg1"/>
            </a:solidFill>
          </a:endParaRPr>
        </a:p>
      </dgm:t>
    </dgm:pt>
    <dgm:pt modelId="{CDF7D30C-FA32-432A-953F-93CD0BF53FE5}" type="sibTrans" cxnId="{06E96791-C78B-4A04-B271-120309917277}">
      <dgm:prSet/>
      <dgm:spPr/>
      <dgm:t>
        <a:bodyPr/>
        <a:lstStyle/>
        <a:p>
          <a:endParaRPr lang="nb-NO" b="1">
            <a:solidFill>
              <a:schemeClr val="bg1"/>
            </a:solidFill>
          </a:endParaRPr>
        </a:p>
      </dgm:t>
    </dgm:pt>
    <dgm:pt modelId="{59C00689-6E1F-4D4F-B61B-93E45C162884}">
      <dgm:prSet phldrT="[Text]" custT="1"/>
      <dgm:spPr/>
      <dgm:t>
        <a:bodyPr/>
        <a:lstStyle/>
        <a:p>
          <a:r>
            <a:rPr lang="nb-NO" sz="1600" b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rPr>
            <a:t>Jul</a:t>
          </a:r>
        </a:p>
      </dgm:t>
    </dgm:pt>
    <dgm:pt modelId="{630BEF09-07F7-4558-A51F-C17A34876320}" type="parTrans" cxnId="{2575DBF3-3FAC-4B73-A1A1-483876B34AE7}">
      <dgm:prSet/>
      <dgm:spPr/>
      <dgm:t>
        <a:bodyPr/>
        <a:lstStyle/>
        <a:p>
          <a:endParaRPr lang="nb-NO" b="1">
            <a:solidFill>
              <a:schemeClr val="bg1"/>
            </a:solidFill>
          </a:endParaRPr>
        </a:p>
      </dgm:t>
    </dgm:pt>
    <dgm:pt modelId="{A7649572-3E4D-4ECA-ADCC-1D212F68A805}" type="sibTrans" cxnId="{2575DBF3-3FAC-4B73-A1A1-483876B34AE7}">
      <dgm:prSet/>
      <dgm:spPr/>
      <dgm:t>
        <a:bodyPr/>
        <a:lstStyle/>
        <a:p>
          <a:endParaRPr lang="nb-NO" b="1">
            <a:solidFill>
              <a:schemeClr val="bg1"/>
            </a:solidFill>
          </a:endParaRPr>
        </a:p>
      </dgm:t>
    </dgm:pt>
    <dgm:pt modelId="{12382D85-ACFD-490F-888C-2114F27C4BF7}">
      <dgm:prSet phldrT="[Text]" custT="1"/>
      <dgm:spPr/>
      <dgm:t>
        <a:bodyPr/>
        <a:lstStyle/>
        <a:p>
          <a:r>
            <a:rPr lang="nb-NO" sz="1600" b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rPr>
            <a:t>Aug</a:t>
          </a:r>
        </a:p>
      </dgm:t>
    </dgm:pt>
    <dgm:pt modelId="{A7AB244B-E027-42E7-B6E3-5D858C1419CA}" type="parTrans" cxnId="{3A57C3D0-2FDA-4BF1-89DB-CD5741083A75}">
      <dgm:prSet/>
      <dgm:spPr/>
      <dgm:t>
        <a:bodyPr/>
        <a:lstStyle/>
        <a:p>
          <a:endParaRPr lang="nb-NO" b="1">
            <a:solidFill>
              <a:schemeClr val="bg1"/>
            </a:solidFill>
          </a:endParaRPr>
        </a:p>
      </dgm:t>
    </dgm:pt>
    <dgm:pt modelId="{9922AC5B-B516-4927-B774-10F116070995}" type="sibTrans" cxnId="{3A57C3D0-2FDA-4BF1-89DB-CD5741083A75}">
      <dgm:prSet/>
      <dgm:spPr/>
      <dgm:t>
        <a:bodyPr/>
        <a:lstStyle/>
        <a:p>
          <a:endParaRPr lang="nb-NO" b="1">
            <a:solidFill>
              <a:schemeClr val="bg1"/>
            </a:solidFill>
          </a:endParaRPr>
        </a:p>
      </dgm:t>
    </dgm:pt>
    <dgm:pt modelId="{8EC9E499-5048-4496-9520-D91A43C8118D}">
      <dgm:prSet phldrT="[Text]" custT="1"/>
      <dgm:spPr/>
      <dgm:t>
        <a:bodyPr/>
        <a:lstStyle/>
        <a:p>
          <a:r>
            <a:rPr lang="nb-NO" sz="1600" b="0" dirty="0" err="1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rPr>
            <a:t>Sep</a:t>
          </a:r>
          <a:endParaRPr lang="nb-NO" sz="1600" b="0" dirty="0">
            <a:solidFill>
              <a:schemeClr val="bg1"/>
            </a:solidFill>
            <a:latin typeface="Poppins" panose="00000500000000000000" pitchFamily="2" charset="0"/>
            <a:cs typeface="Poppins" panose="00000500000000000000" pitchFamily="2" charset="0"/>
          </a:endParaRPr>
        </a:p>
      </dgm:t>
    </dgm:pt>
    <dgm:pt modelId="{E076673E-F3DE-4CFA-A9E3-4364A71E63AB}" type="parTrans" cxnId="{4B114B18-FFCC-4E34-BC14-A8A8466BF32B}">
      <dgm:prSet/>
      <dgm:spPr/>
      <dgm:t>
        <a:bodyPr/>
        <a:lstStyle/>
        <a:p>
          <a:endParaRPr lang="nb-NO" b="1">
            <a:solidFill>
              <a:schemeClr val="bg1"/>
            </a:solidFill>
          </a:endParaRPr>
        </a:p>
      </dgm:t>
    </dgm:pt>
    <dgm:pt modelId="{B36EEDC4-3639-4C95-9876-E0FE934E62ED}" type="sibTrans" cxnId="{4B114B18-FFCC-4E34-BC14-A8A8466BF32B}">
      <dgm:prSet/>
      <dgm:spPr/>
      <dgm:t>
        <a:bodyPr/>
        <a:lstStyle/>
        <a:p>
          <a:endParaRPr lang="nb-NO" b="1">
            <a:solidFill>
              <a:schemeClr val="bg1"/>
            </a:solidFill>
          </a:endParaRPr>
        </a:p>
      </dgm:t>
    </dgm:pt>
    <dgm:pt modelId="{1BBE3D0C-6B6F-4B3A-A712-A00526757103}">
      <dgm:prSet phldrT="[Text]" custT="1"/>
      <dgm:spPr/>
      <dgm:t>
        <a:bodyPr/>
        <a:lstStyle/>
        <a:p>
          <a:r>
            <a:rPr lang="nb-NO" sz="1600" b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rPr>
            <a:t>Okt</a:t>
          </a:r>
        </a:p>
      </dgm:t>
    </dgm:pt>
    <dgm:pt modelId="{8CA4EF54-DC83-45BA-BB4F-43A94C1BA681}" type="parTrans" cxnId="{A585E6BB-D089-4675-89FE-67D979360D74}">
      <dgm:prSet/>
      <dgm:spPr/>
      <dgm:t>
        <a:bodyPr/>
        <a:lstStyle/>
        <a:p>
          <a:endParaRPr lang="nb-NO" b="1">
            <a:solidFill>
              <a:schemeClr val="bg1"/>
            </a:solidFill>
          </a:endParaRPr>
        </a:p>
      </dgm:t>
    </dgm:pt>
    <dgm:pt modelId="{CAC54404-968E-47F7-A61A-1DA0B1A42840}" type="sibTrans" cxnId="{A585E6BB-D089-4675-89FE-67D979360D74}">
      <dgm:prSet/>
      <dgm:spPr/>
      <dgm:t>
        <a:bodyPr/>
        <a:lstStyle/>
        <a:p>
          <a:endParaRPr lang="nb-NO" b="1">
            <a:solidFill>
              <a:schemeClr val="bg1"/>
            </a:solidFill>
          </a:endParaRPr>
        </a:p>
      </dgm:t>
    </dgm:pt>
    <dgm:pt modelId="{C7C767CE-B71D-44DD-9F07-1172A1A708BB}">
      <dgm:prSet phldrT="[Text]" custT="1"/>
      <dgm:spPr/>
      <dgm:t>
        <a:bodyPr/>
        <a:lstStyle/>
        <a:p>
          <a:r>
            <a:rPr lang="nb-NO" sz="1600" b="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rPr>
            <a:t>Nov</a:t>
          </a:r>
        </a:p>
      </dgm:t>
    </dgm:pt>
    <dgm:pt modelId="{12F37BFB-21C4-4647-BE4A-FB4ADB1A7835}" type="parTrans" cxnId="{48224370-A21D-4159-8E3D-3AA4A5230E72}">
      <dgm:prSet/>
      <dgm:spPr/>
      <dgm:t>
        <a:bodyPr/>
        <a:lstStyle/>
        <a:p>
          <a:endParaRPr lang="nb-NO" b="1">
            <a:solidFill>
              <a:schemeClr val="bg1"/>
            </a:solidFill>
          </a:endParaRPr>
        </a:p>
      </dgm:t>
    </dgm:pt>
    <dgm:pt modelId="{0DF525DA-6D96-4524-BFE8-E8A7C9CA5F2C}" type="sibTrans" cxnId="{48224370-A21D-4159-8E3D-3AA4A5230E72}">
      <dgm:prSet/>
      <dgm:spPr/>
      <dgm:t>
        <a:bodyPr/>
        <a:lstStyle/>
        <a:p>
          <a:endParaRPr lang="nb-NO" b="1">
            <a:solidFill>
              <a:schemeClr val="bg1"/>
            </a:solidFill>
          </a:endParaRPr>
        </a:p>
      </dgm:t>
    </dgm:pt>
    <dgm:pt modelId="{3C64A591-0BC8-4EF1-8248-D4064C01235D}">
      <dgm:prSet phldrT="[Text]" custT="1"/>
      <dgm:spPr/>
      <dgm:t>
        <a:bodyPr/>
        <a:lstStyle/>
        <a:p>
          <a:r>
            <a:rPr lang="nb-NO" sz="1600" b="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rPr>
            <a:t>Des</a:t>
          </a:r>
        </a:p>
      </dgm:t>
    </dgm:pt>
    <dgm:pt modelId="{8732A5CF-341C-4B6B-9BA0-1AEE322621AD}" type="parTrans" cxnId="{08568FCA-225A-4FC1-BF29-9E864BDCA3DA}">
      <dgm:prSet/>
      <dgm:spPr/>
      <dgm:t>
        <a:bodyPr/>
        <a:lstStyle/>
        <a:p>
          <a:endParaRPr lang="nb-NO"/>
        </a:p>
      </dgm:t>
    </dgm:pt>
    <dgm:pt modelId="{D1B40630-B72F-4907-9450-5978CF450DF2}" type="sibTrans" cxnId="{08568FCA-225A-4FC1-BF29-9E864BDCA3DA}">
      <dgm:prSet/>
      <dgm:spPr/>
      <dgm:t>
        <a:bodyPr/>
        <a:lstStyle/>
        <a:p>
          <a:endParaRPr lang="nb-NO"/>
        </a:p>
      </dgm:t>
    </dgm:pt>
    <dgm:pt modelId="{21B54848-8FDB-46C5-9CFA-E8099A1E9035}">
      <dgm:prSet phldrT="[Text]" custT="1"/>
      <dgm:spPr/>
      <dgm:t>
        <a:bodyPr/>
        <a:lstStyle/>
        <a:p>
          <a:r>
            <a:rPr lang="nb-NO" sz="1600" b="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rPr>
            <a:t>Jan</a:t>
          </a:r>
        </a:p>
      </dgm:t>
    </dgm:pt>
    <dgm:pt modelId="{DC274400-A277-4130-A688-FF443B585532}" type="parTrans" cxnId="{515E7155-6F6C-4FFD-9173-3C59956DB9F5}">
      <dgm:prSet/>
      <dgm:spPr/>
      <dgm:t>
        <a:bodyPr/>
        <a:lstStyle/>
        <a:p>
          <a:endParaRPr lang="nb-NO"/>
        </a:p>
      </dgm:t>
    </dgm:pt>
    <dgm:pt modelId="{0D98942E-E2A2-4A2B-9933-102318680017}" type="sibTrans" cxnId="{515E7155-6F6C-4FFD-9173-3C59956DB9F5}">
      <dgm:prSet/>
      <dgm:spPr/>
      <dgm:t>
        <a:bodyPr/>
        <a:lstStyle/>
        <a:p>
          <a:endParaRPr lang="nb-NO"/>
        </a:p>
      </dgm:t>
    </dgm:pt>
    <dgm:pt modelId="{EEF8DC9F-A7A5-4737-B6D7-71E40C66DD58}" type="pres">
      <dgm:prSet presAssocID="{FC295B7D-F857-4701-B417-8CA96F6BFFDD}" presName="Name0" presStyleCnt="0">
        <dgm:presLayoutVars>
          <dgm:dir/>
          <dgm:resizeHandles val="exact"/>
        </dgm:presLayoutVars>
      </dgm:prSet>
      <dgm:spPr/>
    </dgm:pt>
    <dgm:pt modelId="{ECD0462F-FC86-43EC-9EE1-F98A4E3685E5}" type="pres">
      <dgm:prSet presAssocID="{0D86B1FE-AC4F-4FD1-AA3C-F1D7B07E3891}" presName="parTxOnly" presStyleLbl="node1" presStyleIdx="0" presStyleCnt="13" custScaleY="72955">
        <dgm:presLayoutVars>
          <dgm:bulletEnabled val="1"/>
        </dgm:presLayoutVars>
      </dgm:prSet>
      <dgm:spPr/>
    </dgm:pt>
    <dgm:pt modelId="{14C6B0AC-EAE3-41F4-A78F-8BCEF6B2062C}" type="pres">
      <dgm:prSet presAssocID="{D0EB1B8E-3D62-436B-81AE-22CFF478D2F7}" presName="parSpace" presStyleCnt="0"/>
      <dgm:spPr/>
    </dgm:pt>
    <dgm:pt modelId="{D851844B-5F9B-474F-BF45-9F1571037C6B}" type="pres">
      <dgm:prSet presAssocID="{97DD039A-6E5A-40AF-8817-8BECD499E1D2}" presName="parTxOnly" presStyleLbl="node1" presStyleIdx="1" presStyleCnt="13" custScaleY="72955">
        <dgm:presLayoutVars>
          <dgm:bulletEnabled val="1"/>
        </dgm:presLayoutVars>
      </dgm:prSet>
      <dgm:spPr/>
    </dgm:pt>
    <dgm:pt modelId="{D6B97D54-86A1-4294-8AE2-BB16CFC89823}" type="pres">
      <dgm:prSet presAssocID="{3E85B2B3-1759-4FE0-91CD-CCF04ACFDEA0}" presName="parSpace" presStyleCnt="0"/>
      <dgm:spPr/>
    </dgm:pt>
    <dgm:pt modelId="{21EE003F-A6AE-47D0-8F30-7E500E2B43C5}" type="pres">
      <dgm:prSet presAssocID="{C4109414-31C0-4083-AFBC-0DA7D9E02CA5}" presName="parTxOnly" presStyleLbl="node1" presStyleIdx="2" presStyleCnt="13" custScaleY="72955">
        <dgm:presLayoutVars>
          <dgm:bulletEnabled val="1"/>
        </dgm:presLayoutVars>
      </dgm:prSet>
      <dgm:spPr/>
    </dgm:pt>
    <dgm:pt modelId="{73780782-3044-4E1D-80A1-2A421F143FCB}" type="pres">
      <dgm:prSet presAssocID="{D57F9888-59DD-4B8B-8001-885D841C0BC9}" presName="parSpace" presStyleCnt="0"/>
      <dgm:spPr/>
    </dgm:pt>
    <dgm:pt modelId="{6B98CBCD-E89E-4180-8377-1128BB900E75}" type="pres">
      <dgm:prSet presAssocID="{B901B503-3290-41FB-B3F8-0B587FC33E3B}" presName="parTxOnly" presStyleLbl="node1" presStyleIdx="3" presStyleCnt="13" custScaleY="72955">
        <dgm:presLayoutVars>
          <dgm:bulletEnabled val="1"/>
        </dgm:presLayoutVars>
      </dgm:prSet>
      <dgm:spPr/>
    </dgm:pt>
    <dgm:pt modelId="{7532E259-5AF4-4BE9-8827-7DA286DF1CEB}" type="pres">
      <dgm:prSet presAssocID="{57454D4F-3791-4ABF-A2BC-076FD55B9CF3}" presName="parSpace" presStyleCnt="0"/>
      <dgm:spPr/>
    </dgm:pt>
    <dgm:pt modelId="{AF814335-286D-4A63-9B4D-2D3466461DDB}" type="pres">
      <dgm:prSet presAssocID="{6ADA94F4-E964-464C-B81A-A5997DE1D7EE}" presName="parTxOnly" presStyleLbl="node1" presStyleIdx="4" presStyleCnt="13" custScaleY="72955">
        <dgm:presLayoutVars>
          <dgm:bulletEnabled val="1"/>
        </dgm:presLayoutVars>
      </dgm:prSet>
      <dgm:spPr/>
    </dgm:pt>
    <dgm:pt modelId="{9E772E0C-A598-4235-BC54-43B82487BE6B}" type="pres">
      <dgm:prSet presAssocID="{75DFA3E5-F7D5-4357-B890-DAE32F1ECAD2}" presName="parSpace" presStyleCnt="0"/>
      <dgm:spPr/>
    </dgm:pt>
    <dgm:pt modelId="{A10BF886-FB56-4505-A18A-A6E570242149}" type="pres">
      <dgm:prSet presAssocID="{BBE09310-B4AE-4B0A-A01F-157614B446AF}" presName="parTxOnly" presStyleLbl="node1" presStyleIdx="5" presStyleCnt="13" custScaleY="72955">
        <dgm:presLayoutVars>
          <dgm:bulletEnabled val="1"/>
        </dgm:presLayoutVars>
      </dgm:prSet>
      <dgm:spPr/>
    </dgm:pt>
    <dgm:pt modelId="{B1B1D131-C83B-45DF-87BB-551769A4FBC2}" type="pres">
      <dgm:prSet presAssocID="{CDF7D30C-FA32-432A-953F-93CD0BF53FE5}" presName="parSpace" presStyleCnt="0"/>
      <dgm:spPr/>
    </dgm:pt>
    <dgm:pt modelId="{395877A3-2998-45B1-8766-D05006EF8E29}" type="pres">
      <dgm:prSet presAssocID="{59C00689-6E1F-4D4F-B61B-93E45C162884}" presName="parTxOnly" presStyleLbl="node1" presStyleIdx="6" presStyleCnt="13" custScaleY="72955">
        <dgm:presLayoutVars>
          <dgm:bulletEnabled val="1"/>
        </dgm:presLayoutVars>
      </dgm:prSet>
      <dgm:spPr/>
    </dgm:pt>
    <dgm:pt modelId="{E51B4D1F-BE70-4027-A953-1181740A4BB8}" type="pres">
      <dgm:prSet presAssocID="{A7649572-3E4D-4ECA-ADCC-1D212F68A805}" presName="parSpace" presStyleCnt="0"/>
      <dgm:spPr/>
    </dgm:pt>
    <dgm:pt modelId="{A379D365-20DF-4073-A1AB-BA299F9B590E}" type="pres">
      <dgm:prSet presAssocID="{12382D85-ACFD-490F-888C-2114F27C4BF7}" presName="parTxOnly" presStyleLbl="node1" presStyleIdx="7" presStyleCnt="13" custScaleY="72955">
        <dgm:presLayoutVars>
          <dgm:bulletEnabled val="1"/>
        </dgm:presLayoutVars>
      </dgm:prSet>
      <dgm:spPr/>
    </dgm:pt>
    <dgm:pt modelId="{90BD7D04-31E3-477D-8AA8-26AD80BB62E0}" type="pres">
      <dgm:prSet presAssocID="{9922AC5B-B516-4927-B774-10F116070995}" presName="parSpace" presStyleCnt="0"/>
      <dgm:spPr/>
    </dgm:pt>
    <dgm:pt modelId="{3ED65369-217E-4D49-9F64-4471C6F48357}" type="pres">
      <dgm:prSet presAssocID="{8EC9E499-5048-4496-9520-D91A43C8118D}" presName="parTxOnly" presStyleLbl="node1" presStyleIdx="8" presStyleCnt="13" custScaleY="72955">
        <dgm:presLayoutVars>
          <dgm:bulletEnabled val="1"/>
        </dgm:presLayoutVars>
      </dgm:prSet>
      <dgm:spPr/>
    </dgm:pt>
    <dgm:pt modelId="{1E8306B6-1370-4444-B39B-692DFBDC6CFD}" type="pres">
      <dgm:prSet presAssocID="{B36EEDC4-3639-4C95-9876-E0FE934E62ED}" presName="parSpace" presStyleCnt="0"/>
      <dgm:spPr/>
    </dgm:pt>
    <dgm:pt modelId="{2D49D640-C7D1-4468-B187-B2874A901B0B}" type="pres">
      <dgm:prSet presAssocID="{1BBE3D0C-6B6F-4B3A-A712-A00526757103}" presName="parTxOnly" presStyleLbl="node1" presStyleIdx="9" presStyleCnt="13" custScaleY="72955">
        <dgm:presLayoutVars>
          <dgm:bulletEnabled val="1"/>
        </dgm:presLayoutVars>
      </dgm:prSet>
      <dgm:spPr/>
    </dgm:pt>
    <dgm:pt modelId="{BB666EE6-0491-4B9A-A011-5CC94620A38F}" type="pres">
      <dgm:prSet presAssocID="{CAC54404-968E-47F7-A61A-1DA0B1A42840}" presName="parSpace" presStyleCnt="0"/>
      <dgm:spPr/>
    </dgm:pt>
    <dgm:pt modelId="{FF492FC4-140E-4C27-B8F3-3E7AF3B20685}" type="pres">
      <dgm:prSet presAssocID="{C7C767CE-B71D-44DD-9F07-1172A1A708BB}" presName="parTxOnly" presStyleLbl="node1" presStyleIdx="10" presStyleCnt="13" custScaleY="72955">
        <dgm:presLayoutVars>
          <dgm:bulletEnabled val="1"/>
        </dgm:presLayoutVars>
      </dgm:prSet>
      <dgm:spPr/>
    </dgm:pt>
    <dgm:pt modelId="{81B92518-44CC-4C56-8843-364F0A18D34B}" type="pres">
      <dgm:prSet presAssocID="{0DF525DA-6D96-4524-BFE8-E8A7C9CA5F2C}" presName="parSpace" presStyleCnt="0"/>
      <dgm:spPr/>
    </dgm:pt>
    <dgm:pt modelId="{69B9C239-A640-47DE-8FA8-530005BC0264}" type="pres">
      <dgm:prSet presAssocID="{3C64A591-0BC8-4EF1-8248-D4064C01235D}" presName="parTxOnly" presStyleLbl="node1" presStyleIdx="11" presStyleCnt="13" custScaleY="71873">
        <dgm:presLayoutVars>
          <dgm:bulletEnabled val="1"/>
        </dgm:presLayoutVars>
      </dgm:prSet>
      <dgm:spPr/>
    </dgm:pt>
    <dgm:pt modelId="{5CAAA118-D299-4629-AFA3-F33A55023536}" type="pres">
      <dgm:prSet presAssocID="{D1B40630-B72F-4907-9450-5978CF450DF2}" presName="parSpace" presStyleCnt="0"/>
      <dgm:spPr/>
    </dgm:pt>
    <dgm:pt modelId="{FA95D12B-05CA-44EA-BAC0-B7CE16FEA204}" type="pres">
      <dgm:prSet presAssocID="{21B54848-8FDB-46C5-9CFA-E8099A1E9035}" presName="parTxOnly" presStyleLbl="node1" presStyleIdx="12" presStyleCnt="13" custScaleY="71873">
        <dgm:presLayoutVars>
          <dgm:bulletEnabled val="1"/>
        </dgm:presLayoutVars>
      </dgm:prSet>
      <dgm:spPr/>
    </dgm:pt>
  </dgm:ptLst>
  <dgm:cxnLst>
    <dgm:cxn modelId="{FED5B103-1C66-4321-A002-4F6D451F46E1}" type="presOf" srcId="{97DD039A-6E5A-40AF-8817-8BECD499E1D2}" destId="{D851844B-5F9B-474F-BF45-9F1571037C6B}" srcOrd="0" destOrd="0" presId="urn:microsoft.com/office/officeart/2005/8/layout/hChevron3"/>
    <dgm:cxn modelId="{FDB73E04-4643-4051-B61F-32206937C126}" type="presOf" srcId="{1BBE3D0C-6B6F-4B3A-A712-A00526757103}" destId="{2D49D640-C7D1-4468-B187-B2874A901B0B}" srcOrd="0" destOrd="0" presId="urn:microsoft.com/office/officeart/2005/8/layout/hChevron3"/>
    <dgm:cxn modelId="{0E933E11-00F1-4691-B962-346168B65535}" type="presOf" srcId="{21B54848-8FDB-46C5-9CFA-E8099A1E9035}" destId="{FA95D12B-05CA-44EA-BAC0-B7CE16FEA204}" srcOrd="0" destOrd="0" presId="urn:microsoft.com/office/officeart/2005/8/layout/hChevron3"/>
    <dgm:cxn modelId="{CF3A7C11-1D1F-4917-8C1E-F7A6905A066D}" srcId="{FC295B7D-F857-4701-B417-8CA96F6BFFDD}" destId="{0D86B1FE-AC4F-4FD1-AA3C-F1D7B07E3891}" srcOrd="0" destOrd="0" parTransId="{9786C803-8CC5-49F3-B443-4FD751F8C0F2}" sibTransId="{D0EB1B8E-3D62-436B-81AE-22CFF478D2F7}"/>
    <dgm:cxn modelId="{4B114B18-FFCC-4E34-BC14-A8A8466BF32B}" srcId="{FC295B7D-F857-4701-B417-8CA96F6BFFDD}" destId="{8EC9E499-5048-4496-9520-D91A43C8118D}" srcOrd="8" destOrd="0" parTransId="{E076673E-F3DE-4CFA-A9E3-4364A71E63AB}" sibTransId="{B36EEDC4-3639-4C95-9876-E0FE934E62ED}"/>
    <dgm:cxn modelId="{B0D30623-49E5-4E75-BDEE-C8BF368B313C}" type="presOf" srcId="{FC295B7D-F857-4701-B417-8CA96F6BFFDD}" destId="{EEF8DC9F-A7A5-4737-B6D7-71E40C66DD58}" srcOrd="0" destOrd="0" presId="urn:microsoft.com/office/officeart/2005/8/layout/hChevron3"/>
    <dgm:cxn modelId="{73289334-0A54-4338-8A63-FD520DB4A789}" type="presOf" srcId="{3C64A591-0BC8-4EF1-8248-D4064C01235D}" destId="{69B9C239-A640-47DE-8FA8-530005BC0264}" srcOrd="0" destOrd="0" presId="urn:microsoft.com/office/officeart/2005/8/layout/hChevron3"/>
    <dgm:cxn modelId="{CF24E739-EC0D-440F-A384-F98ECBC87BE3}" srcId="{FC295B7D-F857-4701-B417-8CA96F6BFFDD}" destId="{97DD039A-6E5A-40AF-8817-8BECD499E1D2}" srcOrd="1" destOrd="0" parTransId="{2DE9AB6D-5608-41E5-8EE2-B72BA286AE64}" sibTransId="{3E85B2B3-1759-4FE0-91CD-CCF04ACFDEA0}"/>
    <dgm:cxn modelId="{06509E40-E1EE-451C-BA75-8C2693C07295}" type="presOf" srcId="{59C00689-6E1F-4D4F-B61B-93E45C162884}" destId="{395877A3-2998-45B1-8766-D05006EF8E29}" srcOrd="0" destOrd="0" presId="urn:microsoft.com/office/officeart/2005/8/layout/hChevron3"/>
    <dgm:cxn modelId="{0B37EC69-6685-4A2E-B930-CE41DCF5CB7B}" type="presOf" srcId="{0D86B1FE-AC4F-4FD1-AA3C-F1D7B07E3891}" destId="{ECD0462F-FC86-43EC-9EE1-F98A4E3685E5}" srcOrd="0" destOrd="0" presId="urn:microsoft.com/office/officeart/2005/8/layout/hChevron3"/>
    <dgm:cxn modelId="{48224370-A21D-4159-8E3D-3AA4A5230E72}" srcId="{FC295B7D-F857-4701-B417-8CA96F6BFFDD}" destId="{C7C767CE-B71D-44DD-9F07-1172A1A708BB}" srcOrd="10" destOrd="0" parTransId="{12F37BFB-21C4-4647-BE4A-FB4ADB1A7835}" sibTransId="{0DF525DA-6D96-4524-BFE8-E8A7C9CA5F2C}"/>
    <dgm:cxn modelId="{515E7155-6F6C-4FFD-9173-3C59956DB9F5}" srcId="{FC295B7D-F857-4701-B417-8CA96F6BFFDD}" destId="{21B54848-8FDB-46C5-9CFA-E8099A1E9035}" srcOrd="12" destOrd="0" parTransId="{DC274400-A277-4130-A688-FF443B585532}" sibTransId="{0D98942E-E2A2-4A2B-9933-102318680017}"/>
    <dgm:cxn modelId="{B2C53778-00A3-4ECB-B45E-D9A80FFF4430}" srcId="{FC295B7D-F857-4701-B417-8CA96F6BFFDD}" destId="{6ADA94F4-E964-464C-B81A-A5997DE1D7EE}" srcOrd="4" destOrd="0" parTransId="{B8F8B226-D0E3-4D08-B384-255160124048}" sibTransId="{75DFA3E5-F7D5-4357-B890-DAE32F1ECAD2}"/>
    <dgm:cxn modelId="{755D1F8B-CC6E-4B2E-8499-00ED7E1B81E1}" type="presOf" srcId="{C4109414-31C0-4083-AFBC-0DA7D9E02CA5}" destId="{21EE003F-A6AE-47D0-8F30-7E500E2B43C5}" srcOrd="0" destOrd="0" presId="urn:microsoft.com/office/officeart/2005/8/layout/hChevron3"/>
    <dgm:cxn modelId="{06E96791-C78B-4A04-B271-120309917277}" srcId="{FC295B7D-F857-4701-B417-8CA96F6BFFDD}" destId="{BBE09310-B4AE-4B0A-A01F-157614B446AF}" srcOrd="5" destOrd="0" parTransId="{58093D7E-E63E-4895-8BC2-606D5BC6CEFF}" sibTransId="{CDF7D30C-FA32-432A-953F-93CD0BF53FE5}"/>
    <dgm:cxn modelId="{05DF6F9B-635A-466C-A3E4-29E6C351B3A5}" type="presOf" srcId="{6ADA94F4-E964-464C-B81A-A5997DE1D7EE}" destId="{AF814335-286D-4A63-9B4D-2D3466461DDB}" srcOrd="0" destOrd="0" presId="urn:microsoft.com/office/officeart/2005/8/layout/hChevron3"/>
    <dgm:cxn modelId="{05F482A7-E4D3-4CE5-BBB0-FEBDDA1A0715}" type="presOf" srcId="{8EC9E499-5048-4496-9520-D91A43C8118D}" destId="{3ED65369-217E-4D49-9F64-4471C6F48357}" srcOrd="0" destOrd="0" presId="urn:microsoft.com/office/officeart/2005/8/layout/hChevron3"/>
    <dgm:cxn modelId="{6B7121B2-1FEC-4832-A47B-0A99E724AC73}" type="presOf" srcId="{BBE09310-B4AE-4B0A-A01F-157614B446AF}" destId="{A10BF886-FB56-4505-A18A-A6E570242149}" srcOrd="0" destOrd="0" presId="urn:microsoft.com/office/officeart/2005/8/layout/hChevron3"/>
    <dgm:cxn modelId="{A585E6BB-D089-4675-89FE-67D979360D74}" srcId="{FC295B7D-F857-4701-B417-8CA96F6BFFDD}" destId="{1BBE3D0C-6B6F-4B3A-A712-A00526757103}" srcOrd="9" destOrd="0" parTransId="{8CA4EF54-DC83-45BA-BB4F-43A94C1BA681}" sibTransId="{CAC54404-968E-47F7-A61A-1DA0B1A42840}"/>
    <dgm:cxn modelId="{15F2F4C3-F0C7-4093-8B53-BC515EE11E5A}" type="presOf" srcId="{12382D85-ACFD-490F-888C-2114F27C4BF7}" destId="{A379D365-20DF-4073-A1AB-BA299F9B590E}" srcOrd="0" destOrd="0" presId="urn:microsoft.com/office/officeart/2005/8/layout/hChevron3"/>
    <dgm:cxn modelId="{091C0BCA-7C60-424B-BAAF-6E61323AF5C6}" type="presOf" srcId="{C7C767CE-B71D-44DD-9F07-1172A1A708BB}" destId="{FF492FC4-140E-4C27-B8F3-3E7AF3B20685}" srcOrd="0" destOrd="0" presId="urn:microsoft.com/office/officeart/2005/8/layout/hChevron3"/>
    <dgm:cxn modelId="{08568FCA-225A-4FC1-BF29-9E864BDCA3DA}" srcId="{FC295B7D-F857-4701-B417-8CA96F6BFFDD}" destId="{3C64A591-0BC8-4EF1-8248-D4064C01235D}" srcOrd="11" destOrd="0" parTransId="{8732A5CF-341C-4B6B-9BA0-1AEE322621AD}" sibTransId="{D1B40630-B72F-4907-9450-5978CF450DF2}"/>
    <dgm:cxn modelId="{56B06ACF-81EE-47CE-909C-8309BA40628F}" srcId="{FC295B7D-F857-4701-B417-8CA96F6BFFDD}" destId="{B901B503-3290-41FB-B3F8-0B587FC33E3B}" srcOrd="3" destOrd="0" parTransId="{6D4F6CFE-717B-46CE-9876-7C904312C07F}" sibTransId="{57454D4F-3791-4ABF-A2BC-076FD55B9CF3}"/>
    <dgm:cxn modelId="{3A57C3D0-2FDA-4BF1-89DB-CD5741083A75}" srcId="{FC295B7D-F857-4701-B417-8CA96F6BFFDD}" destId="{12382D85-ACFD-490F-888C-2114F27C4BF7}" srcOrd="7" destOrd="0" parTransId="{A7AB244B-E027-42E7-B6E3-5D858C1419CA}" sibTransId="{9922AC5B-B516-4927-B774-10F116070995}"/>
    <dgm:cxn modelId="{60D978E0-411C-498F-B2BF-ED02726DC0B0}" type="presOf" srcId="{B901B503-3290-41FB-B3F8-0B587FC33E3B}" destId="{6B98CBCD-E89E-4180-8377-1128BB900E75}" srcOrd="0" destOrd="0" presId="urn:microsoft.com/office/officeart/2005/8/layout/hChevron3"/>
    <dgm:cxn modelId="{6668B6E7-1C13-4DC7-A4D8-4E774C5F79A0}" srcId="{FC295B7D-F857-4701-B417-8CA96F6BFFDD}" destId="{C4109414-31C0-4083-AFBC-0DA7D9E02CA5}" srcOrd="2" destOrd="0" parTransId="{306C2B99-300B-44C4-B366-86CC00129EE1}" sibTransId="{D57F9888-59DD-4B8B-8001-885D841C0BC9}"/>
    <dgm:cxn modelId="{2575DBF3-3FAC-4B73-A1A1-483876B34AE7}" srcId="{FC295B7D-F857-4701-B417-8CA96F6BFFDD}" destId="{59C00689-6E1F-4D4F-B61B-93E45C162884}" srcOrd="6" destOrd="0" parTransId="{630BEF09-07F7-4558-A51F-C17A34876320}" sibTransId="{A7649572-3E4D-4ECA-ADCC-1D212F68A805}"/>
    <dgm:cxn modelId="{B825CE78-984A-4825-A9BC-67B4FC7FEDB7}" type="presParOf" srcId="{EEF8DC9F-A7A5-4737-B6D7-71E40C66DD58}" destId="{ECD0462F-FC86-43EC-9EE1-F98A4E3685E5}" srcOrd="0" destOrd="0" presId="urn:microsoft.com/office/officeart/2005/8/layout/hChevron3"/>
    <dgm:cxn modelId="{F0DEBCFF-B2C1-45D7-AE29-A6FEA349086B}" type="presParOf" srcId="{EEF8DC9F-A7A5-4737-B6D7-71E40C66DD58}" destId="{14C6B0AC-EAE3-41F4-A78F-8BCEF6B2062C}" srcOrd="1" destOrd="0" presId="urn:microsoft.com/office/officeart/2005/8/layout/hChevron3"/>
    <dgm:cxn modelId="{4F0B3AAF-122E-40B1-91AC-C866E6A33E0F}" type="presParOf" srcId="{EEF8DC9F-A7A5-4737-B6D7-71E40C66DD58}" destId="{D851844B-5F9B-474F-BF45-9F1571037C6B}" srcOrd="2" destOrd="0" presId="urn:microsoft.com/office/officeart/2005/8/layout/hChevron3"/>
    <dgm:cxn modelId="{7762C01C-8888-4205-940A-3890AEBAAD5A}" type="presParOf" srcId="{EEF8DC9F-A7A5-4737-B6D7-71E40C66DD58}" destId="{D6B97D54-86A1-4294-8AE2-BB16CFC89823}" srcOrd="3" destOrd="0" presId="urn:microsoft.com/office/officeart/2005/8/layout/hChevron3"/>
    <dgm:cxn modelId="{181D047A-7024-499E-8939-C89A8C16FF42}" type="presParOf" srcId="{EEF8DC9F-A7A5-4737-B6D7-71E40C66DD58}" destId="{21EE003F-A6AE-47D0-8F30-7E500E2B43C5}" srcOrd="4" destOrd="0" presId="urn:microsoft.com/office/officeart/2005/8/layout/hChevron3"/>
    <dgm:cxn modelId="{461D789A-B67E-46C0-B193-ED47E8316F31}" type="presParOf" srcId="{EEF8DC9F-A7A5-4737-B6D7-71E40C66DD58}" destId="{73780782-3044-4E1D-80A1-2A421F143FCB}" srcOrd="5" destOrd="0" presId="urn:microsoft.com/office/officeart/2005/8/layout/hChevron3"/>
    <dgm:cxn modelId="{C6BAF284-5307-41D5-A599-44957CD732B2}" type="presParOf" srcId="{EEF8DC9F-A7A5-4737-B6D7-71E40C66DD58}" destId="{6B98CBCD-E89E-4180-8377-1128BB900E75}" srcOrd="6" destOrd="0" presId="urn:microsoft.com/office/officeart/2005/8/layout/hChevron3"/>
    <dgm:cxn modelId="{352AE785-5171-4D3E-B6EF-3B22D2E2077E}" type="presParOf" srcId="{EEF8DC9F-A7A5-4737-B6D7-71E40C66DD58}" destId="{7532E259-5AF4-4BE9-8827-7DA286DF1CEB}" srcOrd="7" destOrd="0" presId="urn:microsoft.com/office/officeart/2005/8/layout/hChevron3"/>
    <dgm:cxn modelId="{10BA4780-6A9F-43FE-AF11-C848BCE0CC18}" type="presParOf" srcId="{EEF8DC9F-A7A5-4737-B6D7-71E40C66DD58}" destId="{AF814335-286D-4A63-9B4D-2D3466461DDB}" srcOrd="8" destOrd="0" presId="urn:microsoft.com/office/officeart/2005/8/layout/hChevron3"/>
    <dgm:cxn modelId="{D8EEA65A-A9AC-470F-8D3C-84D61D64504F}" type="presParOf" srcId="{EEF8DC9F-A7A5-4737-B6D7-71E40C66DD58}" destId="{9E772E0C-A598-4235-BC54-43B82487BE6B}" srcOrd="9" destOrd="0" presId="urn:microsoft.com/office/officeart/2005/8/layout/hChevron3"/>
    <dgm:cxn modelId="{2306827D-8A75-4C05-81CC-927CC5421D63}" type="presParOf" srcId="{EEF8DC9F-A7A5-4737-B6D7-71E40C66DD58}" destId="{A10BF886-FB56-4505-A18A-A6E570242149}" srcOrd="10" destOrd="0" presId="urn:microsoft.com/office/officeart/2005/8/layout/hChevron3"/>
    <dgm:cxn modelId="{8AC25B6D-A7AB-416B-934D-145C5A954D36}" type="presParOf" srcId="{EEF8DC9F-A7A5-4737-B6D7-71E40C66DD58}" destId="{B1B1D131-C83B-45DF-87BB-551769A4FBC2}" srcOrd="11" destOrd="0" presId="urn:microsoft.com/office/officeart/2005/8/layout/hChevron3"/>
    <dgm:cxn modelId="{45D29DDD-7576-4BF9-AA58-8D20A4231A26}" type="presParOf" srcId="{EEF8DC9F-A7A5-4737-B6D7-71E40C66DD58}" destId="{395877A3-2998-45B1-8766-D05006EF8E29}" srcOrd="12" destOrd="0" presId="urn:microsoft.com/office/officeart/2005/8/layout/hChevron3"/>
    <dgm:cxn modelId="{59D46CB9-123C-4B81-B0E3-37C9110DED65}" type="presParOf" srcId="{EEF8DC9F-A7A5-4737-B6D7-71E40C66DD58}" destId="{E51B4D1F-BE70-4027-A953-1181740A4BB8}" srcOrd="13" destOrd="0" presId="urn:microsoft.com/office/officeart/2005/8/layout/hChevron3"/>
    <dgm:cxn modelId="{16C2B860-76BD-4DAE-A2A2-8E257EB4D8BF}" type="presParOf" srcId="{EEF8DC9F-A7A5-4737-B6D7-71E40C66DD58}" destId="{A379D365-20DF-4073-A1AB-BA299F9B590E}" srcOrd="14" destOrd="0" presId="urn:microsoft.com/office/officeart/2005/8/layout/hChevron3"/>
    <dgm:cxn modelId="{DDE2C823-8978-4656-ACB5-1317E77F2F6D}" type="presParOf" srcId="{EEF8DC9F-A7A5-4737-B6D7-71E40C66DD58}" destId="{90BD7D04-31E3-477D-8AA8-26AD80BB62E0}" srcOrd="15" destOrd="0" presId="urn:microsoft.com/office/officeart/2005/8/layout/hChevron3"/>
    <dgm:cxn modelId="{F5824407-8719-47CE-91EF-DE0227EDDB67}" type="presParOf" srcId="{EEF8DC9F-A7A5-4737-B6D7-71E40C66DD58}" destId="{3ED65369-217E-4D49-9F64-4471C6F48357}" srcOrd="16" destOrd="0" presId="urn:microsoft.com/office/officeart/2005/8/layout/hChevron3"/>
    <dgm:cxn modelId="{338838B8-546A-42B9-9C18-CD34E31DC45C}" type="presParOf" srcId="{EEF8DC9F-A7A5-4737-B6D7-71E40C66DD58}" destId="{1E8306B6-1370-4444-B39B-692DFBDC6CFD}" srcOrd="17" destOrd="0" presId="urn:microsoft.com/office/officeart/2005/8/layout/hChevron3"/>
    <dgm:cxn modelId="{023BBC86-6F0B-428E-A7B9-E7A266696288}" type="presParOf" srcId="{EEF8DC9F-A7A5-4737-B6D7-71E40C66DD58}" destId="{2D49D640-C7D1-4468-B187-B2874A901B0B}" srcOrd="18" destOrd="0" presId="urn:microsoft.com/office/officeart/2005/8/layout/hChevron3"/>
    <dgm:cxn modelId="{9A79F27C-0D5C-463E-9C67-BC68518626B1}" type="presParOf" srcId="{EEF8DC9F-A7A5-4737-B6D7-71E40C66DD58}" destId="{BB666EE6-0491-4B9A-A011-5CC94620A38F}" srcOrd="19" destOrd="0" presId="urn:microsoft.com/office/officeart/2005/8/layout/hChevron3"/>
    <dgm:cxn modelId="{FA173660-D176-420D-95DA-9B24168CEBA5}" type="presParOf" srcId="{EEF8DC9F-A7A5-4737-B6D7-71E40C66DD58}" destId="{FF492FC4-140E-4C27-B8F3-3E7AF3B20685}" srcOrd="20" destOrd="0" presId="urn:microsoft.com/office/officeart/2005/8/layout/hChevron3"/>
    <dgm:cxn modelId="{9146EA89-1348-452F-9D23-0177444C30B7}" type="presParOf" srcId="{EEF8DC9F-A7A5-4737-B6D7-71E40C66DD58}" destId="{81B92518-44CC-4C56-8843-364F0A18D34B}" srcOrd="21" destOrd="0" presId="urn:microsoft.com/office/officeart/2005/8/layout/hChevron3"/>
    <dgm:cxn modelId="{55139B06-75BC-4F58-99C3-2138DE841A27}" type="presParOf" srcId="{EEF8DC9F-A7A5-4737-B6D7-71E40C66DD58}" destId="{69B9C239-A640-47DE-8FA8-530005BC0264}" srcOrd="22" destOrd="0" presId="urn:microsoft.com/office/officeart/2005/8/layout/hChevron3"/>
    <dgm:cxn modelId="{FA9797BE-6E9D-46D6-BCC3-F02F71A03E92}" type="presParOf" srcId="{EEF8DC9F-A7A5-4737-B6D7-71E40C66DD58}" destId="{5CAAA118-D299-4629-AFA3-F33A55023536}" srcOrd="23" destOrd="0" presId="urn:microsoft.com/office/officeart/2005/8/layout/hChevron3"/>
    <dgm:cxn modelId="{661394B0-2398-4562-B1CA-B6B6393236E3}" type="presParOf" srcId="{EEF8DC9F-A7A5-4737-B6D7-71E40C66DD58}" destId="{FA95D12B-05CA-44EA-BAC0-B7CE16FEA204}" srcOrd="24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CD0462F-FC86-43EC-9EE1-F98A4E3685E5}">
      <dsp:nvSpPr>
        <dsp:cNvPr id="0" name=""/>
        <dsp:cNvSpPr/>
      </dsp:nvSpPr>
      <dsp:spPr>
        <a:xfrm>
          <a:off x="4880" y="229550"/>
          <a:ext cx="856326" cy="249893"/>
        </a:xfrm>
        <a:prstGeom prst="homePlate">
          <a:avLst/>
        </a:prstGeom>
        <a:solidFill>
          <a:schemeClr val="accent1">
            <a:shade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b="0" kern="12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rPr>
            <a:t>Jan</a:t>
          </a:r>
        </a:p>
      </dsp:txBody>
      <dsp:txXfrm>
        <a:off x="4880" y="229550"/>
        <a:ext cx="793853" cy="249893"/>
      </dsp:txXfrm>
    </dsp:sp>
    <dsp:sp modelId="{D851844B-5F9B-474F-BF45-9F1571037C6B}">
      <dsp:nvSpPr>
        <dsp:cNvPr id="0" name=""/>
        <dsp:cNvSpPr/>
      </dsp:nvSpPr>
      <dsp:spPr>
        <a:xfrm>
          <a:off x="689941" y="229550"/>
          <a:ext cx="856326" cy="249893"/>
        </a:xfrm>
        <a:prstGeom prst="chevron">
          <a:avLst/>
        </a:prstGeom>
        <a:solidFill>
          <a:schemeClr val="accent1">
            <a:shade val="50000"/>
            <a:hueOff val="11739"/>
            <a:satOff val="4974"/>
            <a:lumOff val="477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b="0" kern="120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rPr>
            <a:t>Feb</a:t>
          </a:r>
        </a:p>
      </dsp:txBody>
      <dsp:txXfrm>
        <a:off x="814888" y="229550"/>
        <a:ext cx="606433" cy="249893"/>
      </dsp:txXfrm>
    </dsp:sp>
    <dsp:sp modelId="{21EE003F-A6AE-47D0-8F30-7E500E2B43C5}">
      <dsp:nvSpPr>
        <dsp:cNvPr id="0" name=""/>
        <dsp:cNvSpPr/>
      </dsp:nvSpPr>
      <dsp:spPr>
        <a:xfrm>
          <a:off x="1375002" y="229550"/>
          <a:ext cx="856326" cy="249893"/>
        </a:xfrm>
        <a:prstGeom prst="chevron">
          <a:avLst/>
        </a:prstGeom>
        <a:solidFill>
          <a:schemeClr val="accent1">
            <a:shade val="50000"/>
            <a:hueOff val="23479"/>
            <a:satOff val="9949"/>
            <a:lumOff val="954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b="0" kern="12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rPr>
            <a:t>Mar</a:t>
          </a:r>
        </a:p>
      </dsp:txBody>
      <dsp:txXfrm>
        <a:off x="1499949" y="229550"/>
        <a:ext cx="606433" cy="249893"/>
      </dsp:txXfrm>
    </dsp:sp>
    <dsp:sp modelId="{6B98CBCD-E89E-4180-8377-1128BB900E75}">
      <dsp:nvSpPr>
        <dsp:cNvPr id="0" name=""/>
        <dsp:cNvSpPr/>
      </dsp:nvSpPr>
      <dsp:spPr>
        <a:xfrm>
          <a:off x="2060064" y="229550"/>
          <a:ext cx="856326" cy="249893"/>
        </a:xfrm>
        <a:prstGeom prst="chevron">
          <a:avLst/>
        </a:prstGeom>
        <a:solidFill>
          <a:schemeClr val="accent1">
            <a:shade val="50000"/>
            <a:hueOff val="35218"/>
            <a:satOff val="14923"/>
            <a:lumOff val="1431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b="0" kern="120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rPr>
            <a:t>Apr</a:t>
          </a:r>
        </a:p>
      </dsp:txBody>
      <dsp:txXfrm>
        <a:off x="2185011" y="229550"/>
        <a:ext cx="606433" cy="249893"/>
      </dsp:txXfrm>
    </dsp:sp>
    <dsp:sp modelId="{AF814335-286D-4A63-9B4D-2D3466461DDB}">
      <dsp:nvSpPr>
        <dsp:cNvPr id="0" name=""/>
        <dsp:cNvSpPr/>
      </dsp:nvSpPr>
      <dsp:spPr>
        <a:xfrm>
          <a:off x="2745125" y="229550"/>
          <a:ext cx="856326" cy="249893"/>
        </a:xfrm>
        <a:prstGeom prst="chevron">
          <a:avLst/>
        </a:prstGeom>
        <a:solidFill>
          <a:schemeClr val="accent1">
            <a:shade val="50000"/>
            <a:hueOff val="46958"/>
            <a:satOff val="19897"/>
            <a:lumOff val="1909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b="0" kern="120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rPr>
            <a:t>Mai</a:t>
          </a:r>
        </a:p>
      </dsp:txBody>
      <dsp:txXfrm>
        <a:off x="2870072" y="229550"/>
        <a:ext cx="606433" cy="249893"/>
      </dsp:txXfrm>
    </dsp:sp>
    <dsp:sp modelId="{A10BF886-FB56-4505-A18A-A6E570242149}">
      <dsp:nvSpPr>
        <dsp:cNvPr id="0" name=""/>
        <dsp:cNvSpPr/>
      </dsp:nvSpPr>
      <dsp:spPr>
        <a:xfrm>
          <a:off x="3430186" y="229550"/>
          <a:ext cx="856326" cy="249893"/>
        </a:xfrm>
        <a:prstGeom prst="chevron">
          <a:avLst/>
        </a:prstGeom>
        <a:solidFill>
          <a:schemeClr val="accent1">
            <a:shade val="50000"/>
            <a:hueOff val="58697"/>
            <a:satOff val="24872"/>
            <a:lumOff val="2386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b="0" kern="120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rPr>
            <a:t>Jun</a:t>
          </a:r>
        </a:p>
      </dsp:txBody>
      <dsp:txXfrm>
        <a:off x="3555133" y="229550"/>
        <a:ext cx="606433" cy="249893"/>
      </dsp:txXfrm>
    </dsp:sp>
    <dsp:sp modelId="{395877A3-2998-45B1-8766-D05006EF8E29}">
      <dsp:nvSpPr>
        <dsp:cNvPr id="0" name=""/>
        <dsp:cNvSpPr/>
      </dsp:nvSpPr>
      <dsp:spPr>
        <a:xfrm>
          <a:off x="4115247" y="229550"/>
          <a:ext cx="856326" cy="249893"/>
        </a:xfrm>
        <a:prstGeom prst="chevron">
          <a:avLst/>
        </a:prstGeom>
        <a:solidFill>
          <a:schemeClr val="accent1">
            <a:shade val="50000"/>
            <a:hueOff val="70437"/>
            <a:satOff val="29846"/>
            <a:lumOff val="2863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b="0" kern="120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rPr>
            <a:t>Jul</a:t>
          </a:r>
        </a:p>
      </dsp:txBody>
      <dsp:txXfrm>
        <a:off x="4240194" y="229550"/>
        <a:ext cx="606433" cy="249893"/>
      </dsp:txXfrm>
    </dsp:sp>
    <dsp:sp modelId="{A379D365-20DF-4073-A1AB-BA299F9B590E}">
      <dsp:nvSpPr>
        <dsp:cNvPr id="0" name=""/>
        <dsp:cNvSpPr/>
      </dsp:nvSpPr>
      <dsp:spPr>
        <a:xfrm>
          <a:off x="4800308" y="229550"/>
          <a:ext cx="856326" cy="249893"/>
        </a:xfrm>
        <a:prstGeom prst="chevron">
          <a:avLst/>
        </a:prstGeom>
        <a:solidFill>
          <a:schemeClr val="accent1">
            <a:shade val="50000"/>
            <a:hueOff val="70437"/>
            <a:satOff val="29846"/>
            <a:lumOff val="2863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b="0" kern="120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rPr>
            <a:t>Aug</a:t>
          </a:r>
        </a:p>
      </dsp:txBody>
      <dsp:txXfrm>
        <a:off x="4925255" y="229550"/>
        <a:ext cx="606433" cy="249893"/>
      </dsp:txXfrm>
    </dsp:sp>
    <dsp:sp modelId="{3ED65369-217E-4D49-9F64-4471C6F48357}">
      <dsp:nvSpPr>
        <dsp:cNvPr id="0" name=""/>
        <dsp:cNvSpPr/>
      </dsp:nvSpPr>
      <dsp:spPr>
        <a:xfrm>
          <a:off x="5485370" y="229550"/>
          <a:ext cx="856326" cy="249893"/>
        </a:xfrm>
        <a:prstGeom prst="chevron">
          <a:avLst/>
        </a:prstGeom>
        <a:solidFill>
          <a:schemeClr val="accent1">
            <a:shade val="50000"/>
            <a:hueOff val="58697"/>
            <a:satOff val="24872"/>
            <a:lumOff val="2386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b="0" kern="1200" dirty="0" err="1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rPr>
            <a:t>Sep</a:t>
          </a:r>
          <a:endParaRPr lang="nb-NO" sz="1600" b="0" kern="1200" dirty="0">
            <a:solidFill>
              <a:schemeClr val="bg1"/>
            </a:solidFill>
            <a:latin typeface="Poppins" panose="00000500000000000000" pitchFamily="2" charset="0"/>
            <a:cs typeface="Poppins" panose="00000500000000000000" pitchFamily="2" charset="0"/>
          </a:endParaRPr>
        </a:p>
      </dsp:txBody>
      <dsp:txXfrm>
        <a:off x="5610317" y="229550"/>
        <a:ext cx="606433" cy="249893"/>
      </dsp:txXfrm>
    </dsp:sp>
    <dsp:sp modelId="{2D49D640-C7D1-4468-B187-B2874A901B0B}">
      <dsp:nvSpPr>
        <dsp:cNvPr id="0" name=""/>
        <dsp:cNvSpPr/>
      </dsp:nvSpPr>
      <dsp:spPr>
        <a:xfrm>
          <a:off x="6170431" y="229550"/>
          <a:ext cx="856326" cy="249893"/>
        </a:xfrm>
        <a:prstGeom prst="chevron">
          <a:avLst/>
        </a:prstGeom>
        <a:solidFill>
          <a:schemeClr val="accent1">
            <a:shade val="50000"/>
            <a:hueOff val="46958"/>
            <a:satOff val="19897"/>
            <a:lumOff val="1909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b="0" kern="120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rPr>
            <a:t>Okt</a:t>
          </a:r>
        </a:p>
      </dsp:txBody>
      <dsp:txXfrm>
        <a:off x="6295378" y="229550"/>
        <a:ext cx="606433" cy="249893"/>
      </dsp:txXfrm>
    </dsp:sp>
    <dsp:sp modelId="{FF492FC4-140E-4C27-B8F3-3E7AF3B20685}">
      <dsp:nvSpPr>
        <dsp:cNvPr id="0" name=""/>
        <dsp:cNvSpPr/>
      </dsp:nvSpPr>
      <dsp:spPr>
        <a:xfrm>
          <a:off x="6855492" y="229550"/>
          <a:ext cx="856326" cy="249893"/>
        </a:xfrm>
        <a:prstGeom prst="chevron">
          <a:avLst/>
        </a:prstGeom>
        <a:solidFill>
          <a:schemeClr val="accent1">
            <a:shade val="50000"/>
            <a:hueOff val="35218"/>
            <a:satOff val="14923"/>
            <a:lumOff val="1431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b="0" kern="12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rPr>
            <a:t>Nov</a:t>
          </a:r>
        </a:p>
      </dsp:txBody>
      <dsp:txXfrm>
        <a:off x="6980439" y="229550"/>
        <a:ext cx="606433" cy="249893"/>
      </dsp:txXfrm>
    </dsp:sp>
    <dsp:sp modelId="{69B9C239-A640-47DE-8FA8-530005BC0264}">
      <dsp:nvSpPr>
        <dsp:cNvPr id="0" name=""/>
        <dsp:cNvSpPr/>
      </dsp:nvSpPr>
      <dsp:spPr>
        <a:xfrm>
          <a:off x="7540553" y="231403"/>
          <a:ext cx="856326" cy="246187"/>
        </a:xfrm>
        <a:prstGeom prst="chevron">
          <a:avLst/>
        </a:prstGeom>
        <a:solidFill>
          <a:schemeClr val="accent1">
            <a:shade val="50000"/>
            <a:hueOff val="23479"/>
            <a:satOff val="9949"/>
            <a:lumOff val="954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b="0" kern="12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rPr>
            <a:t>Des</a:t>
          </a:r>
        </a:p>
      </dsp:txBody>
      <dsp:txXfrm>
        <a:off x="7663647" y="231403"/>
        <a:ext cx="610139" cy="246187"/>
      </dsp:txXfrm>
    </dsp:sp>
    <dsp:sp modelId="{FA95D12B-05CA-44EA-BAC0-B7CE16FEA204}">
      <dsp:nvSpPr>
        <dsp:cNvPr id="0" name=""/>
        <dsp:cNvSpPr/>
      </dsp:nvSpPr>
      <dsp:spPr>
        <a:xfrm>
          <a:off x="8225614" y="231403"/>
          <a:ext cx="856326" cy="246187"/>
        </a:xfrm>
        <a:prstGeom prst="chevron">
          <a:avLst/>
        </a:prstGeom>
        <a:solidFill>
          <a:schemeClr val="accent1">
            <a:shade val="50000"/>
            <a:hueOff val="11739"/>
            <a:satOff val="4974"/>
            <a:lumOff val="477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b="0" kern="120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rPr>
            <a:t>Jan</a:t>
          </a:r>
        </a:p>
      </dsp:txBody>
      <dsp:txXfrm>
        <a:off x="8348708" y="231403"/>
        <a:ext cx="610139" cy="24618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93D3E4-FE01-4762-92D7-E46ECFACE246}" type="datetimeFigureOut">
              <a:rPr lang="nb-NO" smtClean="0"/>
              <a:t>18.10.2023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F062EB-12B6-4873-8455-BFBEB8E933E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481068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F062EB-12B6-4873-8455-BFBEB8E933E0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2238538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Kort status ble gitt av Ingrid Volden. </a:t>
            </a:r>
          </a:p>
          <a:p>
            <a:r>
              <a:rPr lang="nb-NO" dirty="0"/>
              <a:t>Bemanningsplan: Planlagt </a:t>
            </a:r>
            <a:r>
              <a:rPr lang="nb-NO"/>
              <a:t>ferdigstillelse priomo </a:t>
            </a:r>
            <a:r>
              <a:rPr lang="nb-NO" dirty="0"/>
              <a:t>desember for å være klar </a:t>
            </a:r>
            <a:r>
              <a:rPr lang="nb-NO"/>
              <a:t>til lønnsbudsjttering </a:t>
            </a:r>
            <a:r>
              <a:rPr lang="nb-NO" dirty="0"/>
              <a:t>2024. Arbeidet går etter plan</a:t>
            </a:r>
          </a:p>
          <a:p>
            <a:r>
              <a:rPr lang="nb-NO" dirty="0"/>
              <a:t>Det jobbers med videreutvikling av prosjektlederportalen 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F062EB-12B6-4873-8455-BFBEB8E933E0}" type="slidenum">
              <a:rPr lang="nb-NO" smtClean="0"/>
              <a:t>1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8652993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177 risikoer – stor variasjon i detaljeringsnivå og vurdering av risiko</a:t>
            </a:r>
          </a:p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B546F-30E5-4A52-998D-58A14E86B420}" type="slidenum">
              <a:rPr lang="nb-NO" smtClean="0"/>
              <a:t>2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2750042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B546F-30E5-4A52-998D-58A14E86B420}" type="slidenum">
              <a:rPr lang="nb-NO" smtClean="0"/>
              <a:t>2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7562747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F062EB-12B6-4873-8455-BFBEB8E933E0}" type="slidenum">
              <a:rPr lang="nb-NO" smtClean="0"/>
              <a:t>2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0897167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5D3829-7506-489F-A45C-883DEB7F0B3B}" type="slidenum">
              <a:rPr lang="nb-NO" smtClean="0"/>
              <a:t>2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3966125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5D3829-7506-489F-A45C-883DEB7F0B3B}" type="slidenum">
              <a:rPr lang="nb-NO" smtClean="0"/>
              <a:t>2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2851800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5D3829-7506-489F-A45C-883DEB7F0B3B}" type="slidenum">
              <a:rPr lang="nb-NO" smtClean="0"/>
              <a:t>2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8264689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5D3829-7506-489F-A45C-883DEB7F0B3B}" type="slidenum">
              <a:rPr lang="nb-NO" smtClean="0"/>
              <a:t>3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9671223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5D3829-7506-489F-A45C-883DEB7F0B3B}" type="slidenum">
              <a:rPr lang="nb-NO" smtClean="0"/>
              <a:t>3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6448784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F062EB-12B6-4873-8455-BFBEB8E933E0}" type="slidenum">
              <a:rPr lang="nb-NO" smtClean="0"/>
              <a:t>3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257813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F062EB-12B6-4873-8455-BFBEB8E933E0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6795657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F062EB-12B6-4873-8455-BFBEB8E933E0}" type="slidenum">
              <a:rPr lang="nb-NO" smtClean="0"/>
              <a:t>3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207952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F062EB-12B6-4873-8455-BFBEB8E933E0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008327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F062EB-12B6-4873-8455-BFBEB8E933E0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638531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C5C381-B4CD-4018-9A99-C766F1DD8A92}" type="slidenum">
              <a:rPr lang="nb-NO" smtClean="0"/>
              <a:t>1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046213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016446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F8A2AF7-2D85-4421-9B02-2B5F9CC37447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12273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 fontAlgn="base">
              <a:buFont typeface="Arial" panose="020B0604020202020204" pitchFamily="34" charset="0"/>
              <a:buNone/>
            </a:pPr>
            <a:endParaRPr lang="nb-NO" b="0" i="0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F8A2AF7-2D85-4421-9B02-2B5F9CC37447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630921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C6883A-7958-47C5-9304-31BE7D0E7F95}" type="slidenum">
              <a:rPr lang="nb-NO" smtClean="0"/>
              <a:t>1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03559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1"/>
            <a:ext cx="7772400" cy="675821"/>
          </a:xfr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0001595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9838506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0318319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488701"/>
            <a:ext cx="8391525" cy="44856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238125"/>
            <a:ext cx="8391525" cy="2505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0762454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2344BB71-0781-BE4B-991A-D131BC6BED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64633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8AF6411C-65FD-A24C-9C3D-9E5091552B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6573" y="928914"/>
            <a:ext cx="8381997" cy="3665709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0600198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9824604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3729142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E56B820D-AB7F-5A44-8020-5D09944AA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79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AE7B768E-548A-B44A-978C-328D3FD098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19" y="1444342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37E158BE-6530-394F-B377-3FE8EA1DC6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5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9F076E42-9075-F143-9FC0-531C50D5489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5" y="1444342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BF3EDB8E-E4B3-2B49-9493-A3FEF0A85B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8" y="964521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7022366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1722496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97185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5964862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5322368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57200" y="304299"/>
            <a:ext cx="8229600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025501"/>
            <a:ext cx="8229600" cy="3813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5" name="Bilde 4" descr="sirkler.jpg"/>
          <p:cNvPicPr>
            <a:picLocks noChangeAspect="1"/>
          </p:cNvPicPr>
          <p:nvPr userDrawn="1"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451"/>
          <a:stretch/>
        </p:blipFill>
        <p:spPr>
          <a:xfrm>
            <a:off x="7993703" y="379170"/>
            <a:ext cx="1151994" cy="1148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7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457200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8.sv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Relationship Id="rId9" Type="http://schemas.openxmlformats.org/officeDocument/2006/relationships/image" Target="../media/image10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hyperlink" Target="https://universityofbergen.sharepoint.com/sites/KvalitetsrammeverkokonomioglonnBOTT/Kvalitetsrammeverk/S%c3%b8ke%20finansiering%20-%20Rutinebeskrivelse.pdf?ga=1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https://i.ntnu.no/wiki/-/wiki/Norsk/NTNU+%C3%B8konomi+og+l%C3%B8nn+forvaltning" TargetMode="Externa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image" Target="../media/image1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2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3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5.bin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mailto:gry.l.johansen@ntnu.no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i.ntnu.no/wiki/-/wiki/Norsk/NTNU+%C3%B8konomi+og+l%C3%B8nn+forvaltning" TargetMode="Externa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https://status.dfo.no/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17126" y="2055600"/>
            <a:ext cx="7772400" cy="646331"/>
          </a:xfrm>
        </p:spPr>
        <p:txBody>
          <a:bodyPr/>
          <a:lstStyle/>
          <a:p>
            <a:r>
              <a:rPr lang="nb-NO">
                <a:solidFill>
                  <a:schemeClr val="bg2">
                    <a:lumMod val="25000"/>
                  </a:schemeClr>
                </a:solidFill>
              </a:rPr>
              <a:t>Samarbeidsmøte forvaltning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06083" y="2796230"/>
            <a:ext cx="7772400" cy="1314450"/>
          </a:xfrm>
        </p:spPr>
        <p:txBody>
          <a:bodyPr>
            <a:normAutofit/>
          </a:bodyPr>
          <a:lstStyle/>
          <a:p>
            <a:r>
              <a:rPr lang="nb-NO" dirty="0"/>
              <a:t>18. oktober 2023</a:t>
            </a:r>
          </a:p>
        </p:txBody>
      </p:sp>
      <p:grpSp>
        <p:nvGrpSpPr>
          <p:cNvPr id="16" name="Gruppe 15"/>
          <p:cNvGrpSpPr/>
          <p:nvPr/>
        </p:nvGrpSpPr>
        <p:grpSpPr>
          <a:xfrm>
            <a:off x="6429510" y="337780"/>
            <a:ext cx="2155389" cy="1751325"/>
            <a:chOff x="6429510" y="337780"/>
            <a:chExt cx="2155389" cy="1751325"/>
          </a:xfrm>
        </p:grpSpPr>
        <p:sp>
          <p:nvSpPr>
            <p:cNvPr id="17" name="Ellipse 16"/>
            <p:cNvSpPr/>
            <p:nvPr/>
          </p:nvSpPr>
          <p:spPr>
            <a:xfrm>
              <a:off x="7596009" y="337780"/>
              <a:ext cx="988890" cy="988890"/>
            </a:xfrm>
            <a:prstGeom prst="ellipse">
              <a:avLst/>
            </a:prstGeom>
            <a:solidFill>
              <a:srgbClr val="0D3475">
                <a:alpha val="6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8" name="Ellipse 17"/>
            <p:cNvSpPr/>
            <p:nvPr/>
          </p:nvSpPr>
          <p:spPr>
            <a:xfrm>
              <a:off x="6815720" y="641606"/>
              <a:ext cx="475240" cy="475240"/>
            </a:xfrm>
            <a:prstGeom prst="ellipse">
              <a:avLst/>
            </a:prstGeom>
            <a:solidFill>
              <a:srgbClr val="0D347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9" name="Ellipse 18"/>
            <p:cNvSpPr/>
            <p:nvPr/>
          </p:nvSpPr>
          <p:spPr>
            <a:xfrm>
              <a:off x="6995176" y="1326670"/>
              <a:ext cx="762435" cy="762435"/>
            </a:xfrm>
            <a:prstGeom prst="ellipse">
              <a:avLst/>
            </a:prstGeom>
            <a:solidFill>
              <a:srgbClr val="BBAC7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0" name="Ellipse 19"/>
            <p:cNvSpPr/>
            <p:nvPr/>
          </p:nvSpPr>
          <p:spPr>
            <a:xfrm>
              <a:off x="6429510" y="1339986"/>
              <a:ext cx="218266" cy="218266"/>
            </a:xfrm>
            <a:prstGeom prst="ellipse">
              <a:avLst/>
            </a:prstGeom>
            <a:solidFill>
              <a:srgbClr val="BBAC76">
                <a:alpha val="6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</p:grpSp>
      <p:pic>
        <p:nvPicPr>
          <p:cNvPr id="12" name="Bilde 11">
            <a:extLst>
              <a:ext uri="{FF2B5EF4-FFF2-40B4-BE49-F238E27FC236}">
                <a16:creationId xmlns:a16="http://schemas.microsoft.com/office/drawing/2014/main" id="{D8F297EE-BF99-0347-94BA-EFFA5776AD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8685" y="491687"/>
            <a:ext cx="2978398" cy="852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31020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17126" y="1878912"/>
            <a:ext cx="7772400" cy="1754326"/>
          </a:xfrm>
        </p:spPr>
        <p:txBody>
          <a:bodyPr/>
          <a:lstStyle/>
          <a:p>
            <a:r>
              <a:rPr lang="nb-NO" dirty="0"/>
              <a:t>Prosjektsøknadsmodul Unit4</a:t>
            </a:r>
            <a:br>
              <a:rPr lang="nb-NO" dirty="0"/>
            </a:br>
            <a:r>
              <a:rPr lang="nb-NO" dirty="0"/>
              <a:t>Innføring NTNU 2023</a:t>
            </a:r>
            <a:br>
              <a:rPr lang="nb-NO" dirty="0"/>
            </a:b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451086" y="3197340"/>
            <a:ext cx="7772400" cy="1314450"/>
          </a:xfrm>
        </p:spPr>
        <p:txBody>
          <a:bodyPr>
            <a:normAutofit/>
          </a:bodyPr>
          <a:lstStyle/>
          <a:p>
            <a:r>
              <a:rPr lang="nb-NO" dirty="0"/>
              <a:t>Oppdatering</a:t>
            </a:r>
          </a:p>
          <a:p>
            <a:r>
              <a:rPr lang="nb-NO" dirty="0"/>
              <a:t>Ida Kristin Antonsen, Innføringsleder NTNU</a:t>
            </a:r>
          </a:p>
        </p:txBody>
      </p:sp>
      <p:grpSp>
        <p:nvGrpSpPr>
          <p:cNvPr id="13" name="Gruppe 12"/>
          <p:cNvGrpSpPr/>
          <p:nvPr/>
        </p:nvGrpSpPr>
        <p:grpSpPr>
          <a:xfrm>
            <a:off x="6517094" y="359678"/>
            <a:ext cx="2155389" cy="1751325"/>
            <a:chOff x="6429510" y="337780"/>
            <a:chExt cx="2155389" cy="1751325"/>
          </a:xfrm>
        </p:grpSpPr>
        <p:sp>
          <p:nvSpPr>
            <p:cNvPr id="17" name="Ellipse 16"/>
            <p:cNvSpPr/>
            <p:nvPr/>
          </p:nvSpPr>
          <p:spPr>
            <a:xfrm>
              <a:off x="7596009" y="337780"/>
              <a:ext cx="988890" cy="988890"/>
            </a:xfrm>
            <a:prstGeom prst="ellipse">
              <a:avLst/>
            </a:prstGeom>
            <a:solidFill>
              <a:srgbClr val="0D3475">
                <a:alpha val="6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8" name="Ellipse 17"/>
            <p:cNvSpPr/>
            <p:nvPr/>
          </p:nvSpPr>
          <p:spPr>
            <a:xfrm>
              <a:off x="6815720" y="641606"/>
              <a:ext cx="475240" cy="475240"/>
            </a:xfrm>
            <a:prstGeom prst="ellipse">
              <a:avLst/>
            </a:prstGeom>
            <a:solidFill>
              <a:srgbClr val="0D347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9" name="Ellipse 18"/>
            <p:cNvSpPr/>
            <p:nvPr/>
          </p:nvSpPr>
          <p:spPr>
            <a:xfrm>
              <a:off x="6995176" y="1326670"/>
              <a:ext cx="762435" cy="762435"/>
            </a:xfrm>
            <a:prstGeom prst="ellipse">
              <a:avLst/>
            </a:prstGeom>
            <a:solidFill>
              <a:srgbClr val="BBAC7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0" name="Ellipse 19"/>
            <p:cNvSpPr/>
            <p:nvPr/>
          </p:nvSpPr>
          <p:spPr>
            <a:xfrm>
              <a:off x="6429510" y="1339986"/>
              <a:ext cx="218266" cy="218266"/>
            </a:xfrm>
            <a:prstGeom prst="ellipse">
              <a:avLst/>
            </a:prstGeom>
            <a:solidFill>
              <a:srgbClr val="BBAC76">
                <a:alpha val="6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</p:grpSp>
      <p:pic>
        <p:nvPicPr>
          <p:cNvPr id="15" name="Bilde 14">
            <a:extLst>
              <a:ext uri="{FF2B5EF4-FFF2-40B4-BE49-F238E27FC236}">
                <a16:creationId xmlns:a16="http://schemas.microsoft.com/office/drawing/2014/main" id="{8FA13D59-2894-5240-81B4-A3D7DAE8F5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5679" y="625995"/>
            <a:ext cx="3214264" cy="829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2698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704D538-544B-C43A-7940-0C9AD2BDBD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Prosjektsøknadsmodulen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6328C00D-85E7-B46E-4DE2-FEA09FD02C2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nb-NO" dirty="0"/>
              <a:t>Prosjektsøknadsmodulen er en del av Unit4 og vil være den løsningen som benyttes når et BOA-søknadsinitiativ registreres, budsjettering av søknaden og videre i flyt til godkjenning hos </a:t>
            </a:r>
            <a:r>
              <a:rPr lang="nb-NO" dirty="0" err="1"/>
              <a:t>kostnadsgodkjenner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067024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09036C8D-FDC4-F049-91E9-1DAA779ED885}"/>
              </a:ext>
            </a:extLst>
          </p:cNvPr>
          <p:cNvSpPr>
            <a:spLocks/>
          </p:cNvSpPr>
          <p:nvPr/>
        </p:nvSpPr>
        <p:spPr>
          <a:xfrm>
            <a:off x="4762966" y="1718267"/>
            <a:ext cx="873957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da-DK" sz="1050" b="1">
                <a:solidFill>
                  <a:prstClr val="white"/>
                </a:solidFill>
              </a:rPr>
              <a:t>Hva får vi?</a:t>
            </a:r>
            <a:endParaRPr lang="en-US" sz="1050" b="1">
              <a:solidFill>
                <a:prstClr val="white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132131B-3148-5443-8B17-7CF35980D764}"/>
              </a:ext>
            </a:extLst>
          </p:cNvPr>
          <p:cNvSpPr>
            <a:spLocks/>
          </p:cNvSpPr>
          <p:nvPr/>
        </p:nvSpPr>
        <p:spPr>
          <a:xfrm>
            <a:off x="1501033" y="1714912"/>
            <a:ext cx="497252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None/>
            </a:pPr>
            <a:r>
              <a:rPr lang="da-DK" sz="1050" b="1">
                <a:solidFill>
                  <a:schemeClr val="bg1"/>
                </a:solidFill>
              </a:rPr>
              <a:t>I dag</a:t>
            </a:r>
            <a:endParaRPr lang="en-US" sz="1050" b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E45B5E-C646-4FAC-971B-8871ED3D5D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238" y="238126"/>
            <a:ext cx="8391525" cy="487592"/>
          </a:xfrm>
        </p:spPr>
        <p:txBody>
          <a:bodyPr/>
          <a:lstStyle/>
          <a:p>
            <a:r>
              <a:rPr lang="nb-NO"/>
              <a:t>Hva blir endringen?</a:t>
            </a:r>
            <a:endParaRPr lang="en-US"/>
          </a:p>
        </p:txBody>
      </p:sp>
      <p:graphicFrame>
        <p:nvGraphicFramePr>
          <p:cNvPr id="10" name="Table 10">
            <a:extLst>
              <a:ext uri="{FF2B5EF4-FFF2-40B4-BE49-F238E27FC236}">
                <a16:creationId xmlns:a16="http://schemas.microsoft.com/office/drawing/2014/main" id="{15ED07B7-54C8-DCE8-B913-5EF3D3664E95}"/>
              </a:ext>
            </a:extLst>
          </p:cNvPr>
          <p:cNvGraphicFramePr>
            <a:graphicFrameLocks noGrp="1"/>
          </p:cNvGraphicFramePr>
          <p:nvPr/>
        </p:nvGraphicFramePr>
        <p:xfrm>
          <a:off x="387910" y="725717"/>
          <a:ext cx="5268685" cy="400850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69675">
                  <a:extLst>
                    <a:ext uri="{9D8B030D-6E8A-4147-A177-3AD203B41FA5}">
                      <a16:colId xmlns:a16="http://schemas.microsoft.com/office/drawing/2014/main" val="3605158748"/>
                    </a:ext>
                  </a:extLst>
                </a:gridCol>
                <a:gridCol w="2599010">
                  <a:extLst>
                    <a:ext uri="{9D8B030D-6E8A-4147-A177-3AD203B41FA5}">
                      <a16:colId xmlns:a16="http://schemas.microsoft.com/office/drawing/2014/main" val="1248415860"/>
                    </a:ext>
                  </a:extLst>
                </a:gridCol>
              </a:tblGrid>
              <a:tr h="274320">
                <a:tc>
                  <a:txBody>
                    <a:bodyPr/>
                    <a:lstStyle/>
                    <a:p>
                      <a:r>
                        <a:rPr lang="nb-NO" sz="1400"/>
                        <a:t>I DAG</a:t>
                      </a:r>
                      <a:endParaRPr lang="nb-NO" sz="140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r>
                        <a:rPr lang="nb-NO" sz="1400"/>
                        <a:t>HVA FÅR VI</a:t>
                      </a:r>
                      <a:endParaRPr lang="nb-NO" sz="140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3420199244"/>
                  </a:ext>
                </a:extLst>
              </a:tr>
              <a:tr h="343283">
                <a:tc gridSpan="2">
                  <a:txBody>
                    <a:bodyPr/>
                    <a:lstStyle/>
                    <a:p>
                      <a:pPr algn="ctr"/>
                      <a:r>
                        <a:rPr lang="nb-NO" sz="1200" b="1" i="1"/>
                        <a:t>Uendret</a:t>
                      </a:r>
                      <a:r>
                        <a:rPr lang="nb-NO" sz="1200" i="1"/>
                        <a:t>: Interne prosesser for godkjenning av oppstart søknadsprosess</a:t>
                      </a:r>
                    </a:p>
                  </a:txBody>
                  <a:tcPr marL="68580" marR="68580" marT="34290" marB="34290"/>
                </a:tc>
                <a:tc hMerge="1">
                  <a:txBody>
                    <a:bodyPr/>
                    <a:lstStyle/>
                    <a:p>
                      <a:endParaRPr lang="nb-NO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93365902"/>
                  </a:ext>
                </a:extLst>
              </a:tr>
              <a:tr h="617220">
                <a:tc>
                  <a:txBody>
                    <a:bodyPr/>
                    <a:lstStyle/>
                    <a:p>
                      <a:r>
                        <a:rPr lang="nb-NO" sz="1200" dirty="0"/>
                        <a:t>Registrering av søknad:</a:t>
                      </a:r>
                    </a:p>
                    <a:p>
                      <a:pPr marL="285750" lvl="0" indent="-285750">
                        <a:buFont typeface="Arial"/>
                        <a:buChar char="•"/>
                      </a:pPr>
                      <a:r>
                        <a:rPr lang="nb-NO" sz="1200" dirty="0"/>
                        <a:t>Ingen registrering i system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200"/>
                        <a:t>Registrering og prosessering av søknad i Unit4</a:t>
                      </a:r>
                      <a:endParaRPr lang="nb-NO" sz="1400"/>
                    </a:p>
                    <a:p>
                      <a:endParaRPr lang="nb-NO" sz="120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317263018"/>
                  </a:ext>
                </a:extLst>
              </a:tr>
              <a:tr h="9829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/>
                        <a:t>Budsjettmaler i Excel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200"/>
                        <a:t>Fortrinnsvis PØ (i dialog med PL) 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200"/>
                        <a:t>men blir også gjort av  PL eller andr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nb-NO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>
                        <a:buFontTx/>
                        <a:buNone/>
                      </a:pPr>
                      <a:r>
                        <a:rPr lang="nb-NO" sz="1200"/>
                        <a:t>Budsjettmaler i Unit4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200"/>
                        <a:t>PØ (fagpersonen) som jobber med</a:t>
                      </a:r>
                    </a:p>
                    <a:p>
                      <a:endParaRPr lang="nb-NO" sz="120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406479194"/>
                  </a:ext>
                </a:extLst>
              </a:tr>
              <a:tr h="11658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/>
                        <a:t>Sjekkliste</a:t>
                      </a:r>
                    </a:p>
                    <a:p>
                      <a:pPr marL="742950" lvl="1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200"/>
                        <a:t>Manuelt dokument som må skrives ut og signeres</a:t>
                      </a:r>
                    </a:p>
                    <a:p>
                      <a:pPr marL="742950" lvl="1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200"/>
                        <a:t>Skal arkiveres i </a:t>
                      </a:r>
                      <a:r>
                        <a:rPr lang="nb-NO" sz="1200" err="1"/>
                        <a:t>ePhorte</a:t>
                      </a:r>
                      <a:endParaRPr lang="nb-NO" sz="1200"/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nb-NO" sz="1200"/>
                    </a:p>
                    <a:p>
                      <a:endParaRPr lang="nb-NO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>
                        <a:buFontTx/>
                        <a:buNone/>
                      </a:pPr>
                      <a:r>
                        <a:rPr lang="nb-NO" sz="1200"/>
                        <a:t>«Sjekkliste» integrert i, og lagres i, systemet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200"/>
                        <a:t>Må fylles ut og godkjennes </a:t>
                      </a:r>
                      <a:r>
                        <a:rPr lang="nb-NO" sz="1200" u="sng"/>
                        <a:t>før søknad</a:t>
                      </a:r>
                    </a:p>
                    <a:p>
                      <a:endParaRPr lang="nb-NO" sz="120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378936721"/>
                  </a:ext>
                </a:extLst>
              </a:tr>
              <a:tr h="61722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/>
                        <a:t>Ved tilslag: Registrering av prosjekt</a:t>
                      </a:r>
                    </a:p>
                    <a:p>
                      <a:endParaRPr lang="nb-NO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 dirty="0"/>
                        <a:t>Ved tilslag: Data fra søknad overføres til prosjektmodul</a:t>
                      </a:r>
                    </a:p>
                    <a:p>
                      <a:endParaRPr lang="nb-NO" sz="12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459968115"/>
                  </a:ext>
                </a:extLst>
              </a:tr>
            </a:tbl>
          </a:graphicData>
        </a:graphic>
      </p:graphicFrame>
      <p:grpSp>
        <p:nvGrpSpPr>
          <p:cNvPr id="40" name="Group 39">
            <a:extLst>
              <a:ext uri="{FF2B5EF4-FFF2-40B4-BE49-F238E27FC236}">
                <a16:creationId xmlns:a16="http://schemas.microsoft.com/office/drawing/2014/main" id="{3B3577F8-1932-719E-5A26-1949206C074D}"/>
              </a:ext>
            </a:extLst>
          </p:cNvPr>
          <p:cNvGrpSpPr/>
          <p:nvPr/>
        </p:nvGrpSpPr>
        <p:grpSpPr>
          <a:xfrm>
            <a:off x="5866079" y="1429162"/>
            <a:ext cx="3095012" cy="2649931"/>
            <a:chOff x="7876631" y="1885631"/>
            <a:chExt cx="4126683" cy="3533241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C1B21AFB-EDE3-EDF3-510F-935B01EDDEC4}"/>
                </a:ext>
              </a:extLst>
            </p:cNvPr>
            <p:cNvGrpSpPr/>
            <p:nvPr/>
          </p:nvGrpSpPr>
          <p:grpSpPr>
            <a:xfrm>
              <a:off x="7876631" y="1885631"/>
              <a:ext cx="4126683" cy="493852"/>
              <a:chOff x="6699368" y="1408854"/>
              <a:chExt cx="2915425" cy="412210"/>
            </a:xfrm>
            <a:solidFill>
              <a:schemeClr val="tx2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5" name="Text Box 10">
                <a:extLst>
                  <a:ext uri="{FF2B5EF4-FFF2-40B4-BE49-F238E27FC236}">
                    <a16:creationId xmlns:a16="http://schemas.microsoft.com/office/drawing/2014/main" id="{69FB4070-02E1-ABC7-CE4F-6650DE79D58B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699368" y="1408854"/>
                <a:ext cx="2915425" cy="412210"/>
              </a:xfrm>
              <a:prstGeom prst="rect">
                <a:avLst/>
              </a:prstGeom>
              <a:grpFill/>
              <a:ln w="12700" algn="ctr">
                <a:noFill/>
                <a:miter lim="800000"/>
                <a:headEnd/>
                <a:tailEnd type="none" w="sm" len="med"/>
              </a:ln>
            </p:spPr>
            <p:txBody>
              <a:bodyPr lIns="24420" tIns="24420" rIns="24420" bIns="24420" anchor="ctr" anchorCtr="1"/>
              <a:lstStyle/>
              <a:p>
                <a:pPr algn="ctr" defTabSz="649337"/>
                <a:r>
                  <a:rPr lang="nb-NO" sz="900" b="1" spc="450">
                    <a:solidFill>
                      <a:schemeClr val="bg1"/>
                    </a:solidFill>
                    <a:latin typeface="+mj-lt"/>
                  </a:rPr>
                  <a:t>ENDRING</a:t>
                </a:r>
              </a:p>
            </p:txBody>
          </p:sp>
          <p:sp>
            <p:nvSpPr>
              <p:cNvPr id="7" name="Freeform 19">
                <a:extLst>
                  <a:ext uri="{FF2B5EF4-FFF2-40B4-BE49-F238E27FC236}">
                    <a16:creationId xmlns:a16="http://schemas.microsoft.com/office/drawing/2014/main" id="{D31C94C6-70F5-8114-A737-FFAE709F21B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7561" y="1462524"/>
                <a:ext cx="226268" cy="304870"/>
              </a:xfrm>
              <a:custGeom>
                <a:avLst/>
                <a:gdLst>
                  <a:gd name="T0" fmla="*/ 354 w 898"/>
                  <a:gd name="T1" fmla="*/ 10 h 898"/>
                  <a:gd name="T2" fmla="*/ 194 w 898"/>
                  <a:gd name="T3" fmla="*/ 80 h 898"/>
                  <a:gd name="T4" fmla="*/ 74 w 898"/>
                  <a:gd name="T5" fmla="*/ 204 h 898"/>
                  <a:gd name="T6" fmla="*/ 8 w 898"/>
                  <a:gd name="T7" fmla="*/ 364 h 898"/>
                  <a:gd name="T8" fmla="*/ 4 w 898"/>
                  <a:gd name="T9" fmla="*/ 502 h 898"/>
                  <a:gd name="T10" fmla="*/ 58 w 898"/>
                  <a:gd name="T11" fmla="*/ 668 h 898"/>
                  <a:gd name="T12" fmla="*/ 168 w 898"/>
                  <a:gd name="T13" fmla="*/ 800 h 898"/>
                  <a:gd name="T14" fmla="*/ 322 w 898"/>
                  <a:gd name="T15" fmla="*/ 880 h 898"/>
                  <a:gd name="T16" fmla="*/ 456 w 898"/>
                  <a:gd name="T17" fmla="*/ 898 h 898"/>
                  <a:gd name="T18" fmla="*/ 630 w 898"/>
                  <a:gd name="T19" fmla="*/ 860 h 898"/>
                  <a:gd name="T20" fmla="*/ 772 w 898"/>
                  <a:gd name="T21" fmla="*/ 762 h 898"/>
                  <a:gd name="T22" fmla="*/ 866 w 898"/>
                  <a:gd name="T23" fmla="*/ 618 h 898"/>
                  <a:gd name="T24" fmla="*/ 898 w 898"/>
                  <a:gd name="T25" fmla="*/ 444 h 898"/>
                  <a:gd name="T26" fmla="*/ 876 w 898"/>
                  <a:gd name="T27" fmla="*/ 310 h 898"/>
                  <a:gd name="T28" fmla="*/ 792 w 898"/>
                  <a:gd name="T29" fmla="*/ 160 h 898"/>
                  <a:gd name="T30" fmla="*/ 658 w 898"/>
                  <a:gd name="T31" fmla="*/ 52 h 898"/>
                  <a:gd name="T32" fmla="*/ 490 w 898"/>
                  <a:gd name="T33" fmla="*/ 2 h 898"/>
                  <a:gd name="T34" fmla="*/ 440 w 898"/>
                  <a:gd name="T35" fmla="*/ 722 h 898"/>
                  <a:gd name="T36" fmla="*/ 402 w 898"/>
                  <a:gd name="T37" fmla="*/ 710 h 898"/>
                  <a:gd name="T38" fmla="*/ 376 w 898"/>
                  <a:gd name="T39" fmla="*/ 670 h 898"/>
                  <a:gd name="T40" fmla="*/ 382 w 898"/>
                  <a:gd name="T41" fmla="*/ 630 h 898"/>
                  <a:gd name="T42" fmla="*/ 416 w 898"/>
                  <a:gd name="T43" fmla="*/ 596 h 898"/>
                  <a:gd name="T44" fmla="*/ 444 w 898"/>
                  <a:gd name="T45" fmla="*/ 592 h 898"/>
                  <a:gd name="T46" fmla="*/ 492 w 898"/>
                  <a:gd name="T47" fmla="*/ 612 h 898"/>
                  <a:gd name="T48" fmla="*/ 508 w 898"/>
                  <a:gd name="T49" fmla="*/ 660 h 898"/>
                  <a:gd name="T50" fmla="*/ 498 w 898"/>
                  <a:gd name="T51" fmla="*/ 696 h 898"/>
                  <a:gd name="T52" fmla="*/ 456 w 898"/>
                  <a:gd name="T53" fmla="*/ 722 h 898"/>
                  <a:gd name="T54" fmla="*/ 604 w 898"/>
                  <a:gd name="T55" fmla="*/ 404 h 898"/>
                  <a:gd name="T56" fmla="*/ 522 w 898"/>
                  <a:gd name="T57" fmla="*/ 470 h 898"/>
                  <a:gd name="T58" fmla="*/ 498 w 898"/>
                  <a:gd name="T59" fmla="*/ 496 h 898"/>
                  <a:gd name="T60" fmla="*/ 490 w 898"/>
                  <a:gd name="T61" fmla="*/ 532 h 898"/>
                  <a:gd name="T62" fmla="*/ 386 w 898"/>
                  <a:gd name="T63" fmla="*/ 528 h 898"/>
                  <a:gd name="T64" fmla="*/ 398 w 898"/>
                  <a:gd name="T65" fmla="*/ 460 h 898"/>
                  <a:gd name="T66" fmla="*/ 426 w 898"/>
                  <a:gd name="T67" fmla="*/ 432 h 898"/>
                  <a:gd name="T68" fmla="*/ 492 w 898"/>
                  <a:gd name="T69" fmla="*/ 380 h 898"/>
                  <a:gd name="T70" fmla="*/ 512 w 898"/>
                  <a:gd name="T71" fmla="*/ 350 h 898"/>
                  <a:gd name="T72" fmla="*/ 514 w 898"/>
                  <a:gd name="T73" fmla="*/ 320 h 898"/>
                  <a:gd name="T74" fmla="*/ 502 w 898"/>
                  <a:gd name="T75" fmla="*/ 288 h 898"/>
                  <a:gd name="T76" fmla="*/ 450 w 898"/>
                  <a:gd name="T77" fmla="*/ 268 h 898"/>
                  <a:gd name="T78" fmla="*/ 406 w 898"/>
                  <a:gd name="T79" fmla="*/ 282 h 898"/>
                  <a:gd name="T80" fmla="*/ 386 w 898"/>
                  <a:gd name="T81" fmla="*/ 318 h 898"/>
                  <a:gd name="T82" fmla="*/ 274 w 898"/>
                  <a:gd name="T83" fmla="*/ 348 h 898"/>
                  <a:gd name="T84" fmla="*/ 280 w 898"/>
                  <a:gd name="T85" fmla="*/ 298 h 898"/>
                  <a:gd name="T86" fmla="*/ 314 w 898"/>
                  <a:gd name="T87" fmla="*/ 228 h 898"/>
                  <a:gd name="T88" fmla="*/ 366 w 898"/>
                  <a:gd name="T89" fmla="*/ 192 h 898"/>
                  <a:gd name="T90" fmla="*/ 446 w 898"/>
                  <a:gd name="T91" fmla="*/ 176 h 898"/>
                  <a:gd name="T92" fmla="*/ 518 w 898"/>
                  <a:gd name="T93" fmla="*/ 186 h 898"/>
                  <a:gd name="T94" fmla="*/ 576 w 898"/>
                  <a:gd name="T95" fmla="*/ 214 h 898"/>
                  <a:gd name="T96" fmla="*/ 608 w 898"/>
                  <a:gd name="T97" fmla="*/ 248 h 898"/>
                  <a:gd name="T98" fmla="*/ 628 w 898"/>
                  <a:gd name="T99" fmla="*/ 308 h 898"/>
                  <a:gd name="T100" fmla="*/ 622 w 898"/>
                  <a:gd name="T101" fmla="*/ 366 h 8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898" h="898">
                    <a:moveTo>
                      <a:pt x="444" y="0"/>
                    </a:moveTo>
                    <a:lnTo>
                      <a:pt x="444" y="0"/>
                    </a:lnTo>
                    <a:lnTo>
                      <a:pt x="398" y="4"/>
                    </a:lnTo>
                    <a:lnTo>
                      <a:pt x="354" y="10"/>
                    </a:lnTo>
                    <a:lnTo>
                      <a:pt x="310" y="22"/>
                    </a:lnTo>
                    <a:lnTo>
                      <a:pt x="270" y="38"/>
                    </a:lnTo>
                    <a:lnTo>
                      <a:pt x="230" y="58"/>
                    </a:lnTo>
                    <a:lnTo>
                      <a:pt x="194" y="80"/>
                    </a:lnTo>
                    <a:lnTo>
                      <a:pt x="160" y="106"/>
                    </a:lnTo>
                    <a:lnTo>
                      <a:pt x="128" y="136"/>
                    </a:lnTo>
                    <a:lnTo>
                      <a:pt x="100" y="168"/>
                    </a:lnTo>
                    <a:lnTo>
                      <a:pt x="74" y="204"/>
                    </a:lnTo>
                    <a:lnTo>
                      <a:pt x="52" y="240"/>
                    </a:lnTo>
                    <a:lnTo>
                      <a:pt x="34" y="280"/>
                    </a:lnTo>
                    <a:lnTo>
                      <a:pt x="20" y="322"/>
                    </a:lnTo>
                    <a:lnTo>
                      <a:pt x="8" y="364"/>
                    </a:lnTo>
                    <a:lnTo>
                      <a:pt x="2" y="410"/>
                    </a:lnTo>
                    <a:lnTo>
                      <a:pt x="0" y="456"/>
                    </a:lnTo>
                    <a:lnTo>
                      <a:pt x="0" y="456"/>
                    </a:lnTo>
                    <a:lnTo>
                      <a:pt x="4" y="502"/>
                    </a:lnTo>
                    <a:lnTo>
                      <a:pt x="12" y="546"/>
                    </a:lnTo>
                    <a:lnTo>
                      <a:pt x="22" y="588"/>
                    </a:lnTo>
                    <a:lnTo>
                      <a:pt x="38" y="630"/>
                    </a:lnTo>
                    <a:lnTo>
                      <a:pt x="58" y="668"/>
                    </a:lnTo>
                    <a:lnTo>
                      <a:pt x="80" y="706"/>
                    </a:lnTo>
                    <a:lnTo>
                      <a:pt x="108" y="740"/>
                    </a:lnTo>
                    <a:lnTo>
                      <a:pt x="136" y="772"/>
                    </a:lnTo>
                    <a:lnTo>
                      <a:pt x="168" y="800"/>
                    </a:lnTo>
                    <a:lnTo>
                      <a:pt x="204" y="824"/>
                    </a:lnTo>
                    <a:lnTo>
                      <a:pt x="242" y="846"/>
                    </a:lnTo>
                    <a:lnTo>
                      <a:pt x="280" y="866"/>
                    </a:lnTo>
                    <a:lnTo>
                      <a:pt x="322" y="880"/>
                    </a:lnTo>
                    <a:lnTo>
                      <a:pt x="366" y="890"/>
                    </a:lnTo>
                    <a:lnTo>
                      <a:pt x="410" y="896"/>
                    </a:lnTo>
                    <a:lnTo>
                      <a:pt x="456" y="898"/>
                    </a:lnTo>
                    <a:lnTo>
                      <a:pt x="456" y="898"/>
                    </a:lnTo>
                    <a:lnTo>
                      <a:pt x="502" y="896"/>
                    </a:lnTo>
                    <a:lnTo>
                      <a:pt x="546" y="888"/>
                    </a:lnTo>
                    <a:lnTo>
                      <a:pt x="590" y="876"/>
                    </a:lnTo>
                    <a:lnTo>
                      <a:pt x="630" y="860"/>
                    </a:lnTo>
                    <a:lnTo>
                      <a:pt x="670" y="842"/>
                    </a:lnTo>
                    <a:lnTo>
                      <a:pt x="706" y="818"/>
                    </a:lnTo>
                    <a:lnTo>
                      <a:pt x="740" y="792"/>
                    </a:lnTo>
                    <a:lnTo>
                      <a:pt x="772" y="762"/>
                    </a:lnTo>
                    <a:lnTo>
                      <a:pt x="800" y="730"/>
                    </a:lnTo>
                    <a:lnTo>
                      <a:pt x="826" y="696"/>
                    </a:lnTo>
                    <a:lnTo>
                      <a:pt x="848" y="658"/>
                    </a:lnTo>
                    <a:lnTo>
                      <a:pt x="866" y="618"/>
                    </a:lnTo>
                    <a:lnTo>
                      <a:pt x="880" y="578"/>
                    </a:lnTo>
                    <a:lnTo>
                      <a:pt x="890" y="534"/>
                    </a:lnTo>
                    <a:lnTo>
                      <a:pt x="898" y="490"/>
                    </a:lnTo>
                    <a:lnTo>
                      <a:pt x="898" y="444"/>
                    </a:lnTo>
                    <a:lnTo>
                      <a:pt x="898" y="444"/>
                    </a:lnTo>
                    <a:lnTo>
                      <a:pt x="896" y="398"/>
                    </a:lnTo>
                    <a:lnTo>
                      <a:pt x="888" y="352"/>
                    </a:lnTo>
                    <a:lnTo>
                      <a:pt x="876" y="310"/>
                    </a:lnTo>
                    <a:lnTo>
                      <a:pt x="862" y="270"/>
                    </a:lnTo>
                    <a:lnTo>
                      <a:pt x="842" y="230"/>
                    </a:lnTo>
                    <a:lnTo>
                      <a:pt x="818" y="194"/>
                    </a:lnTo>
                    <a:lnTo>
                      <a:pt x="792" y="160"/>
                    </a:lnTo>
                    <a:lnTo>
                      <a:pt x="762" y="128"/>
                    </a:lnTo>
                    <a:lnTo>
                      <a:pt x="730" y="100"/>
                    </a:lnTo>
                    <a:lnTo>
                      <a:pt x="696" y="74"/>
                    </a:lnTo>
                    <a:lnTo>
                      <a:pt x="658" y="52"/>
                    </a:lnTo>
                    <a:lnTo>
                      <a:pt x="618" y="34"/>
                    </a:lnTo>
                    <a:lnTo>
                      <a:pt x="578" y="18"/>
                    </a:lnTo>
                    <a:lnTo>
                      <a:pt x="534" y="8"/>
                    </a:lnTo>
                    <a:lnTo>
                      <a:pt x="490" y="2"/>
                    </a:lnTo>
                    <a:lnTo>
                      <a:pt x="444" y="0"/>
                    </a:lnTo>
                    <a:lnTo>
                      <a:pt x="444" y="0"/>
                    </a:lnTo>
                    <a:close/>
                    <a:moveTo>
                      <a:pt x="442" y="722"/>
                    </a:moveTo>
                    <a:lnTo>
                      <a:pt x="440" y="722"/>
                    </a:lnTo>
                    <a:lnTo>
                      <a:pt x="440" y="722"/>
                    </a:lnTo>
                    <a:lnTo>
                      <a:pt x="426" y="720"/>
                    </a:lnTo>
                    <a:lnTo>
                      <a:pt x="414" y="716"/>
                    </a:lnTo>
                    <a:lnTo>
                      <a:pt x="402" y="710"/>
                    </a:lnTo>
                    <a:lnTo>
                      <a:pt x="394" y="702"/>
                    </a:lnTo>
                    <a:lnTo>
                      <a:pt x="386" y="694"/>
                    </a:lnTo>
                    <a:lnTo>
                      <a:pt x="380" y="682"/>
                    </a:lnTo>
                    <a:lnTo>
                      <a:pt x="376" y="670"/>
                    </a:lnTo>
                    <a:lnTo>
                      <a:pt x="376" y="656"/>
                    </a:lnTo>
                    <a:lnTo>
                      <a:pt x="376" y="656"/>
                    </a:lnTo>
                    <a:lnTo>
                      <a:pt x="378" y="642"/>
                    </a:lnTo>
                    <a:lnTo>
                      <a:pt x="382" y="630"/>
                    </a:lnTo>
                    <a:lnTo>
                      <a:pt x="388" y="620"/>
                    </a:lnTo>
                    <a:lnTo>
                      <a:pt x="396" y="610"/>
                    </a:lnTo>
                    <a:lnTo>
                      <a:pt x="404" y="602"/>
                    </a:lnTo>
                    <a:lnTo>
                      <a:pt x="416" y="596"/>
                    </a:lnTo>
                    <a:lnTo>
                      <a:pt x="428" y="594"/>
                    </a:lnTo>
                    <a:lnTo>
                      <a:pt x="442" y="592"/>
                    </a:lnTo>
                    <a:lnTo>
                      <a:pt x="444" y="592"/>
                    </a:lnTo>
                    <a:lnTo>
                      <a:pt x="444" y="592"/>
                    </a:lnTo>
                    <a:lnTo>
                      <a:pt x="458" y="594"/>
                    </a:lnTo>
                    <a:lnTo>
                      <a:pt x="470" y="598"/>
                    </a:lnTo>
                    <a:lnTo>
                      <a:pt x="482" y="604"/>
                    </a:lnTo>
                    <a:lnTo>
                      <a:pt x="492" y="612"/>
                    </a:lnTo>
                    <a:lnTo>
                      <a:pt x="498" y="622"/>
                    </a:lnTo>
                    <a:lnTo>
                      <a:pt x="504" y="632"/>
                    </a:lnTo>
                    <a:lnTo>
                      <a:pt x="508" y="646"/>
                    </a:lnTo>
                    <a:lnTo>
                      <a:pt x="508" y="660"/>
                    </a:lnTo>
                    <a:lnTo>
                      <a:pt x="508" y="660"/>
                    </a:lnTo>
                    <a:lnTo>
                      <a:pt x="506" y="674"/>
                    </a:lnTo>
                    <a:lnTo>
                      <a:pt x="504" y="686"/>
                    </a:lnTo>
                    <a:lnTo>
                      <a:pt x="498" y="696"/>
                    </a:lnTo>
                    <a:lnTo>
                      <a:pt x="490" y="706"/>
                    </a:lnTo>
                    <a:lnTo>
                      <a:pt x="480" y="712"/>
                    </a:lnTo>
                    <a:lnTo>
                      <a:pt x="468" y="718"/>
                    </a:lnTo>
                    <a:lnTo>
                      <a:pt x="456" y="722"/>
                    </a:lnTo>
                    <a:lnTo>
                      <a:pt x="442" y="722"/>
                    </a:lnTo>
                    <a:lnTo>
                      <a:pt x="442" y="722"/>
                    </a:lnTo>
                    <a:close/>
                    <a:moveTo>
                      <a:pt x="604" y="404"/>
                    </a:moveTo>
                    <a:lnTo>
                      <a:pt x="604" y="404"/>
                    </a:lnTo>
                    <a:lnTo>
                      <a:pt x="594" y="414"/>
                    </a:lnTo>
                    <a:lnTo>
                      <a:pt x="582" y="426"/>
                    </a:lnTo>
                    <a:lnTo>
                      <a:pt x="550" y="452"/>
                    </a:lnTo>
                    <a:lnTo>
                      <a:pt x="522" y="470"/>
                    </a:lnTo>
                    <a:lnTo>
                      <a:pt x="522" y="470"/>
                    </a:lnTo>
                    <a:lnTo>
                      <a:pt x="512" y="480"/>
                    </a:lnTo>
                    <a:lnTo>
                      <a:pt x="504" y="488"/>
                    </a:lnTo>
                    <a:lnTo>
                      <a:pt x="498" y="496"/>
                    </a:lnTo>
                    <a:lnTo>
                      <a:pt x="494" y="504"/>
                    </a:lnTo>
                    <a:lnTo>
                      <a:pt x="494" y="504"/>
                    </a:lnTo>
                    <a:lnTo>
                      <a:pt x="492" y="516"/>
                    </a:lnTo>
                    <a:lnTo>
                      <a:pt x="490" y="532"/>
                    </a:lnTo>
                    <a:lnTo>
                      <a:pt x="490" y="536"/>
                    </a:lnTo>
                    <a:lnTo>
                      <a:pt x="386" y="536"/>
                    </a:lnTo>
                    <a:lnTo>
                      <a:pt x="386" y="528"/>
                    </a:lnTo>
                    <a:lnTo>
                      <a:pt x="386" y="528"/>
                    </a:lnTo>
                    <a:lnTo>
                      <a:pt x="388" y="504"/>
                    </a:lnTo>
                    <a:lnTo>
                      <a:pt x="390" y="484"/>
                    </a:lnTo>
                    <a:lnTo>
                      <a:pt x="394" y="466"/>
                    </a:lnTo>
                    <a:lnTo>
                      <a:pt x="398" y="460"/>
                    </a:lnTo>
                    <a:lnTo>
                      <a:pt x="404" y="452"/>
                    </a:lnTo>
                    <a:lnTo>
                      <a:pt x="404" y="452"/>
                    </a:lnTo>
                    <a:lnTo>
                      <a:pt x="414" y="442"/>
                    </a:lnTo>
                    <a:lnTo>
                      <a:pt x="426" y="432"/>
                    </a:lnTo>
                    <a:lnTo>
                      <a:pt x="450" y="412"/>
                    </a:lnTo>
                    <a:lnTo>
                      <a:pt x="482" y="390"/>
                    </a:lnTo>
                    <a:lnTo>
                      <a:pt x="482" y="390"/>
                    </a:lnTo>
                    <a:lnTo>
                      <a:pt x="492" y="380"/>
                    </a:lnTo>
                    <a:lnTo>
                      <a:pt x="500" y="370"/>
                    </a:lnTo>
                    <a:lnTo>
                      <a:pt x="500" y="370"/>
                    </a:lnTo>
                    <a:lnTo>
                      <a:pt x="506" y="360"/>
                    </a:lnTo>
                    <a:lnTo>
                      <a:pt x="512" y="350"/>
                    </a:lnTo>
                    <a:lnTo>
                      <a:pt x="514" y="340"/>
                    </a:lnTo>
                    <a:lnTo>
                      <a:pt x="516" y="332"/>
                    </a:lnTo>
                    <a:lnTo>
                      <a:pt x="516" y="332"/>
                    </a:lnTo>
                    <a:lnTo>
                      <a:pt x="514" y="320"/>
                    </a:lnTo>
                    <a:lnTo>
                      <a:pt x="512" y="308"/>
                    </a:lnTo>
                    <a:lnTo>
                      <a:pt x="508" y="298"/>
                    </a:lnTo>
                    <a:lnTo>
                      <a:pt x="502" y="288"/>
                    </a:lnTo>
                    <a:lnTo>
                      <a:pt x="502" y="288"/>
                    </a:lnTo>
                    <a:lnTo>
                      <a:pt x="492" y="278"/>
                    </a:lnTo>
                    <a:lnTo>
                      <a:pt x="482" y="272"/>
                    </a:lnTo>
                    <a:lnTo>
                      <a:pt x="466" y="270"/>
                    </a:lnTo>
                    <a:lnTo>
                      <a:pt x="450" y="268"/>
                    </a:lnTo>
                    <a:lnTo>
                      <a:pt x="450" y="268"/>
                    </a:lnTo>
                    <a:lnTo>
                      <a:pt x="432" y="270"/>
                    </a:lnTo>
                    <a:lnTo>
                      <a:pt x="418" y="274"/>
                    </a:lnTo>
                    <a:lnTo>
                      <a:pt x="406" y="282"/>
                    </a:lnTo>
                    <a:lnTo>
                      <a:pt x="398" y="292"/>
                    </a:lnTo>
                    <a:lnTo>
                      <a:pt x="398" y="292"/>
                    </a:lnTo>
                    <a:lnTo>
                      <a:pt x="390" y="304"/>
                    </a:lnTo>
                    <a:lnTo>
                      <a:pt x="386" y="318"/>
                    </a:lnTo>
                    <a:lnTo>
                      <a:pt x="382" y="330"/>
                    </a:lnTo>
                    <a:lnTo>
                      <a:pt x="382" y="344"/>
                    </a:lnTo>
                    <a:lnTo>
                      <a:pt x="382" y="348"/>
                    </a:lnTo>
                    <a:lnTo>
                      <a:pt x="274" y="348"/>
                    </a:lnTo>
                    <a:lnTo>
                      <a:pt x="274" y="344"/>
                    </a:lnTo>
                    <a:lnTo>
                      <a:pt x="274" y="344"/>
                    </a:lnTo>
                    <a:lnTo>
                      <a:pt x="276" y="320"/>
                    </a:lnTo>
                    <a:lnTo>
                      <a:pt x="280" y="298"/>
                    </a:lnTo>
                    <a:lnTo>
                      <a:pt x="286" y="278"/>
                    </a:lnTo>
                    <a:lnTo>
                      <a:pt x="294" y="258"/>
                    </a:lnTo>
                    <a:lnTo>
                      <a:pt x="304" y="242"/>
                    </a:lnTo>
                    <a:lnTo>
                      <a:pt x="314" y="228"/>
                    </a:lnTo>
                    <a:lnTo>
                      <a:pt x="328" y="214"/>
                    </a:lnTo>
                    <a:lnTo>
                      <a:pt x="344" y="202"/>
                    </a:lnTo>
                    <a:lnTo>
                      <a:pt x="344" y="202"/>
                    </a:lnTo>
                    <a:lnTo>
                      <a:pt x="366" y="192"/>
                    </a:lnTo>
                    <a:lnTo>
                      <a:pt x="390" y="182"/>
                    </a:lnTo>
                    <a:lnTo>
                      <a:pt x="416" y="178"/>
                    </a:lnTo>
                    <a:lnTo>
                      <a:pt x="446" y="176"/>
                    </a:lnTo>
                    <a:lnTo>
                      <a:pt x="446" y="176"/>
                    </a:lnTo>
                    <a:lnTo>
                      <a:pt x="464" y="176"/>
                    </a:lnTo>
                    <a:lnTo>
                      <a:pt x="482" y="178"/>
                    </a:lnTo>
                    <a:lnTo>
                      <a:pt x="500" y="182"/>
                    </a:lnTo>
                    <a:lnTo>
                      <a:pt x="518" y="186"/>
                    </a:lnTo>
                    <a:lnTo>
                      <a:pt x="534" y="190"/>
                    </a:lnTo>
                    <a:lnTo>
                      <a:pt x="548" y="198"/>
                    </a:lnTo>
                    <a:lnTo>
                      <a:pt x="562" y="204"/>
                    </a:lnTo>
                    <a:lnTo>
                      <a:pt x="576" y="214"/>
                    </a:lnTo>
                    <a:lnTo>
                      <a:pt x="576" y="214"/>
                    </a:lnTo>
                    <a:lnTo>
                      <a:pt x="588" y="224"/>
                    </a:lnTo>
                    <a:lnTo>
                      <a:pt x="600" y="236"/>
                    </a:lnTo>
                    <a:lnTo>
                      <a:pt x="608" y="248"/>
                    </a:lnTo>
                    <a:lnTo>
                      <a:pt x="616" y="262"/>
                    </a:lnTo>
                    <a:lnTo>
                      <a:pt x="622" y="276"/>
                    </a:lnTo>
                    <a:lnTo>
                      <a:pt x="626" y="292"/>
                    </a:lnTo>
                    <a:lnTo>
                      <a:pt x="628" y="308"/>
                    </a:lnTo>
                    <a:lnTo>
                      <a:pt x="630" y="326"/>
                    </a:lnTo>
                    <a:lnTo>
                      <a:pt x="630" y="326"/>
                    </a:lnTo>
                    <a:lnTo>
                      <a:pt x="628" y="346"/>
                    </a:lnTo>
                    <a:lnTo>
                      <a:pt x="622" y="366"/>
                    </a:lnTo>
                    <a:lnTo>
                      <a:pt x="614" y="386"/>
                    </a:lnTo>
                    <a:lnTo>
                      <a:pt x="604" y="404"/>
                    </a:lnTo>
                    <a:lnTo>
                      <a:pt x="604" y="40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2026" tIns="31013" rIns="62026" bIns="31013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sz="1221"/>
              </a:p>
            </p:txBody>
          </p:sp>
        </p:grp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35402BF-4E8D-369F-ABF9-8894C4ED0291}"/>
                </a:ext>
              </a:extLst>
            </p:cNvPr>
            <p:cNvSpPr/>
            <p:nvPr/>
          </p:nvSpPr>
          <p:spPr>
            <a:xfrm>
              <a:off x="7876631" y="2315183"/>
              <a:ext cx="4126683" cy="3103689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b-NO" sz="1350"/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D7711B73-32C9-8FFD-8482-9D286F733149}"/>
                </a:ext>
              </a:extLst>
            </p:cNvPr>
            <p:cNvGrpSpPr/>
            <p:nvPr/>
          </p:nvGrpSpPr>
          <p:grpSpPr>
            <a:xfrm>
              <a:off x="7997920" y="2586613"/>
              <a:ext cx="529838" cy="493852"/>
              <a:chOff x="7997919" y="2586613"/>
              <a:chExt cx="704259" cy="682730"/>
            </a:xfrm>
          </p:grpSpPr>
          <p:pic>
            <p:nvPicPr>
              <p:cNvPr id="28" name="Graphic 27" descr="Research with solid fill">
                <a:extLst>
                  <a:ext uri="{FF2B5EF4-FFF2-40B4-BE49-F238E27FC236}">
                    <a16:creationId xmlns:a16="http://schemas.microsoft.com/office/drawing/2014/main" id="{A54AD5DF-5EF1-355F-D291-AAFB07EA093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rcRect/>
              <a:stretch/>
            </p:blipFill>
            <p:spPr>
              <a:xfrm>
                <a:off x="8142961" y="2680435"/>
                <a:ext cx="474825" cy="493852"/>
              </a:xfrm>
              <a:prstGeom prst="rect">
                <a:avLst/>
              </a:prstGeom>
            </p:spPr>
          </p:pic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27F3ABF9-91AA-FE88-BD79-BD5FD2F4F5C9}"/>
                  </a:ext>
                </a:extLst>
              </p:cNvPr>
              <p:cNvSpPr/>
              <p:nvPr/>
            </p:nvSpPr>
            <p:spPr>
              <a:xfrm>
                <a:off x="7997919" y="2586613"/>
                <a:ext cx="704259" cy="682730"/>
              </a:xfrm>
              <a:prstGeom prst="ellipse">
                <a:avLst/>
              </a:prstGeom>
              <a:noFill/>
              <a:ln w="9525" cap="flat" cmpd="sng" algn="ctr">
                <a:solidFill>
                  <a:schemeClr val="dk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b-NO" sz="1350"/>
              </a:p>
            </p:txBody>
          </p:sp>
        </p:grp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10830DF3-0E20-B9C7-D8D0-1E5EBFB513C9}"/>
                </a:ext>
              </a:extLst>
            </p:cNvPr>
            <p:cNvSpPr txBox="1"/>
            <p:nvPr/>
          </p:nvSpPr>
          <p:spPr>
            <a:xfrm>
              <a:off x="8637304" y="2509475"/>
              <a:ext cx="3129008" cy="6771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sz="1350"/>
                <a:t>Komplett oversikt over søknader og resultat</a:t>
              </a:r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7B7C46E0-7664-7050-F839-4735F8C3B151}"/>
                </a:ext>
              </a:extLst>
            </p:cNvPr>
            <p:cNvGrpSpPr/>
            <p:nvPr/>
          </p:nvGrpSpPr>
          <p:grpSpPr>
            <a:xfrm>
              <a:off x="7997920" y="3587537"/>
              <a:ext cx="529838" cy="493852"/>
              <a:chOff x="7997919" y="2586613"/>
              <a:chExt cx="704259" cy="682730"/>
            </a:xfrm>
          </p:grpSpPr>
          <p:pic>
            <p:nvPicPr>
              <p:cNvPr id="33" name="Graphic 32" descr="Scales of justice with solid fill">
                <a:extLst>
                  <a:ext uri="{FF2B5EF4-FFF2-40B4-BE49-F238E27FC236}">
                    <a16:creationId xmlns:a16="http://schemas.microsoft.com/office/drawing/2014/main" id="{3D09E360-EFCB-B596-6AAF-B9D494675E0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rcRect/>
              <a:stretch/>
            </p:blipFill>
            <p:spPr>
              <a:xfrm>
                <a:off x="8112635" y="2681052"/>
                <a:ext cx="474825" cy="493852"/>
              </a:xfrm>
              <a:prstGeom prst="rect">
                <a:avLst/>
              </a:prstGeom>
            </p:spPr>
          </p:pic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1F998826-8629-1214-97ED-94026DD6A977}"/>
                  </a:ext>
                </a:extLst>
              </p:cNvPr>
              <p:cNvSpPr/>
              <p:nvPr/>
            </p:nvSpPr>
            <p:spPr>
              <a:xfrm>
                <a:off x="7997919" y="2586613"/>
                <a:ext cx="704259" cy="682730"/>
              </a:xfrm>
              <a:prstGeom prst="ellipse">
                <a:avLst/>
              </a:prstGeom>
              <a:noFill/>
              <a:ln w="9525" cap="flat" cmpd="sng" algn="ctr">
                <a:solidFill>
                  <a:schemeClr val="dk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b-NO" sz="1350"/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131D7BB-452B-EE95-355F-AE4788D77E36}"/>
                </a:ext>
              </a:extLst>
            </p:cNvPr>
            <p:cNvGrpSpPr/>
            <p:nvPr/>
          </p:nvGrpSpPr>
          <p:grpSpPr>
            <a:xfrm>
              <a:off x="7997920" y="4588461"/>
              <a:ext cx="529838" cy="493852"/>
              <a:chOff x="7997919" y="2586613"/>
              <a:chExt cx="704259" cy="682730"/>
            </a:xfrm>
          </p:grpSpPr>
          <p:pic>
            <p:nvPicPr>
              <p:cNvPr id="36" name="Graphic 35" descr="Recycle outline">
                <a:extLst>
                  <a:ext uri="{FF2B5EF4-FFF2-40B4-BE49-F238E27FC236}">
                    <a16:creationId xmlns:a16="http://schemas.microsoft.com/office/drawing/2014/main" id="{16AD8402-EAF6-AEF8-EFED-49FF771A69C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8112635" y="2641697"/>
                <a:ext cx="493852" cy="493852"/>
              </a:xfrm>
              <a:prstGeom prst="rect">
                <a:avLst/>
              </a:prstGeom>
            </p:spPr>
          </p:pic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40A9E360-AB42-8B08-26B6-C5A85EA08C82}"/>
                  </a:ext>
                </a:extLst>
              </p:cNvPr>
              <p:cNvSpPr/>
              <p:nvPr/>
            </p:nvSpPr>
            <p:spPr>
              <a:xfrm>
                <a:off x="7997919" y="2586613"/>
                <a:ext cx="704259" cy="682730"/>
              </a:xfrm>
              <a:prstGeom prst="ellipse">
                <a:avLst/>
              </a:prstGeom>
              <a:noFill/>
              <a:ln w="9525" cap="flat" cmpd="sng" algn="ctr">
                <a:solidFill>
                  <a:schemeClr val="dk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b-NO" sz="1350"/>
              </a:p>
            </p:txBody>
          </p:sp>
        </p:grp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36D61C43-3492-0CFE-B4C0-481F6BE323FF}"/>
                </a:ext>
              </a:extLst>
            </p:cNvPr>
            <p:cNvSpPr txBox="1"/>
            <p:nvPr/>
          </p:nvSpPr>
          <p:spPr>
            <a:xfrm>
              <a:off x="8637304" y="3358115"/>
              <a:ext cx="3249896" cy="9541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sz="1350"/>
                <a:t>Habilitet, faglig interesse og risiko vurdert og dokumentert på alle søknader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C1F0A79C-31D4-7EFC-FB9C-8FF4577115D8}"/>
                </a:ext>
              </a:extLst>
            </p:cNvPr>
            <p:cNvSpPr txBox="1"/>
            <p:nvPr/>
          </p:nvSpPr>
          <p:spPr>
            <a:xfrm>
              <a:off x="8637304" y="4483755"/>
              <a:ext cx="2235200" cy="6771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sz="1350"/>
                <a:t>Data fra søknad brukes flere ganger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449224577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Bilde 21">
            <a:extLst>
              <a:ext uri="{FF2B5EF4-FFF2-40B4-BE49-F238E27FC236}">
                <a16:creationId xmlns:a16="http://schemas.microsoft.com/office/drawing/2014/main" id="{78809924-D85B-4CEE-9772-9AE60CEEE5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70246" y="3196841"/>
            <a:ext cx="2495550" cy="1685925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8DA14712-325E-410A-A347-87CFF1B1C0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OTT-roller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rosjektsøknadsmodulen</a:t>
            </a:r>
            <a:endParaRPr lang="nb-NO" dirty="0"/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4505F38C-1CEA-487F-A6B1-2F7EFD973BAA}"/>
              </a:ext>
            </a:extLst>
          </p:cNvPr>
          <p:cNvSpPr txBox="1"/>
          <p:nvPr/>
        </p:nvSpPr>
        <p:spPr>
          <a:xfrm>
            <a:off x="6002977" y="2798152"/>
            <a:ext cx="2636322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378"/>
            <a:r>
              <a:rPr lang="nb-NO" sz="1200" b="1" err="1">
                <a:solidFill>
                  <a:prstClr val="black"/>
                </a:solidFill>
                <a:latin typeface="Arial"/>
              </a:rPr>
              <a:t>Kostnadsgodkjenner</a:t>
            </a:r>
            <a:r>
              <a:rPr lang="nb-NO" sz="1200">
                <a:solidFill>
                  <a:prstClr val="black"/>
                </a:solidFill>
                <a:latin typeface="Arial"/>
              </a:rPr>
              <a:t> </a:t>
            </a:r>
          </a:p>
          <a:p>
            <a:pPr algn="ctr" defTabSz="914378"/>
            <a:r>
              <a:rPr lang="nb-NO" sz="1200">
                <a:solidFill>
                  <a:prstClr val="black"/>
                </a:solidFill>
                <a:latin typeface="Arial"/>
              </a:rPr>
              <a:t>Denne rollen godkjenner budsjettene som inngår prosjektsøknadene. Dette er en av mange oppgaver som denne prosessrollen har i forhold til budsjettdisponering.</a:t>
            </a: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AEC4A956-0DDD-4251-81D5-1105570BE442}"/>
              </a:ext>
            </a:extLst>
          </p:cNvPr>
          <p:cNvSpPr txBox="1"/>
          <p:nvPr/>
        </p:nvSpPr>
        <p:spPr>
          <a:xfrm>
            <a:off x="3259058" y="2798151"/>
            <a:ext cx="2429943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378"/>
            <a:r>
              <a:rPr lang="nb-NO" sz="1200" b="1" dirty="0">
                <a:solidFill>
                  <a:prstClr val="black"/>
                </a:solidFill>
                <a:latin typeface="Arial"/>
              </a:rPr>
              <a:t>Prosjektøkonom</a:t>
            </a:r>
            <a:endParaRPr lang="nb-NO" sz="1200" dirty="0">
              <a:solidFill>
                <a:prstClr val="black"/>
              </a:solidFill>
              <a:latin typeface="Arial"/>
            </a:endParaRPr>
          </a:p>
          <a:p>
            <a:pPr algn="ctr" defTabSz="914378"/>
            <a:r>
              <a:rPr lang="nb-NO" sz="1200" dirty="0">
                <a:solidFill>
                  <a:prstClr val="black"/>
                </a:solidFill>
                <a:latin typeface="Arial"/>
              </a:rPr>
              <a:t>Denne rollen er selve navet i løsningen. Det er denne som lager selve budsjettet i  samarbeid med prosjektleder og ledelse</a:t>
            </a:r>
          </a:p>
        </p:txBody>
      </p:sp>
      <p:pic>
        <p:nvPicPr>
          <p:cNvPr id="14" name="Bilde 13">
            <a:extLst>
              <a:ext uri="{FF2B5EF4-FFF2-40B4-BE49-F238E27FC236}">
                <a16:creationId xmlns:a16="http://schemas.microsoft.com/office/drawing/2014/main" id="{EFFB34E1-4E86-4657-9421-6E84C1DBD8C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00811" y="1698191"/>
            <a:ext cx="946434" cy="1002519"/>
          </a:xfrm>
          <a:prstGeom prst="rect">
            <a:avLst/>
          </a:prstGeom>
        </p:spPr>
      </p:pic>
      <p:pic>
        <p:nvPicPr>
          <p:cNvPr id="16" name="Bilde 15">
            <a:extLst>
              <a:ext uri="{FF2B5EF4-FFF2-40B4-BE49-F238E27FC236}">
                <a16:creationId xmlns:a16="http://schemas.microsoft.com/office/drawing/2014/main" id="{A6108BB3-7DF6-4599-A2B4-F244ACCEA13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53596" y="1621639"/>
            <a:ext cx="892034" cy="1079072"/>
          </a:xfrm>
          <a:prstGeom prst="rect">
            <a:avLst/>
          </a:prstGeom>
        </p:spPr>
      </p:pic>
      <p:pic>
        <p:nvPicPr>
          <p:cNvPr id="18" name="Bilde 17">
            <a:extLst>
              <a:ext uri="{FF2B5EF4-FFF2-40B4-BE49-F238E27FC236}">
                <a16:creationId xmlns:a16="http://schemas.microsoft.com/office/drawing/2014/main" id="{DE444A22-1C17-4B61-A8CA-D8B2909691D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98373" y="1688166"/>
            <a:ext cx="1041628" cy="988792"/>
          </a:xfrm>
          <a:prstGeom prst="rect">
            <a:avLst/>
          </a:prstGeom>
        </p:spPr>
      </p:pic>
      <p:sp>
        <p:nvSpPr>
          <p:cNvPr id="23" name="TekstSylinder 22">
            <a:extLst>
              <a:ext uri="{FF2B5EF4-FFF2-40B4-BE49-F238E27FC236}">
                <a16:creationId xmlns:a16="http://schemas.microsoft.com/office/drawing/2014/main" id="{7237DD79-CB11-4E47-B9D2-2A65C1CFDA22}"/>
              </a:ext>
            </a:extLst>
          </p:cNvPr>
          <p:cNvSpPr txBox="1"/>
          <p:nvPr/>
        </p:nvSpPr>
        <p:spPr>
          <a:xfrm>
            <a:off x="556481" y="4575125"/>
            <a:ext cx="221727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8"/>
            <a:r>
              <a:rPr lang="en-US" sz="1100" err="1">
                <a:solidFill>
                  <a:prstClr val="black"/>
                </a:solidFill>
                <a:latin typeface="Arial"/>
              </a:rPr>
              <a:t>Kilde</a:t>
            </a:r>
            <a:r>
              <a:rPr lang="en-US" sz="1100">
                <a:solidFill>
                  <a:prstClr val="black"/>
                </a:solidFill>
                <a:latin typeface="Arial"/>
              </a:rPr>
              <a:t>: </a:t>
            </a:r>
            <a:r>
              <a:rPr lang="en-US" sz="1100">
                <a:solidFill>
                  <a:prstClr val="black"/>
                </a:solidFill>
                <a:latin typeface="Arial"/>
                <a:hlinkClick r:id="rId7"/>
              </a:rPr>
              <a:t>BOTT, </a:t>
            </a:r>
            <a:r>
              <a:rPr lang="en-US" sz="1100" err="1">
                <a:solidFill>
                  <a:prstClr val="black"/>
                </a:solidFill>
                <a:latin typeface="Arial"/>
                <a:hlinkClick r:id="rId7"/>
              </a:rPr>
              <a:t>rollekombinasjoner</a:t>
            </a:r>
            <a:endParaRPr lang="nb-NO" sz="1100">
              <a:solidFill>
                <a:prstClr val="black"/>
              </a:solidFill>
              <a:latin typeface="Arial"/>
            </a:endParaRPr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32628C53-345C-4FFE-9B5F-6D8C033A5D39}"/>
              </a:ext>
            </a:extLst>
          </p:cNvPr>
          <p:cNvSpPr txBox="1">
            <a:spLocks/>
          </p:cNvSpPr>
          <p:nvPr/>
        </p:nvSpPr>
        <p:spPr>
          <a:xfrm>
            <a:off x="750847" y="2798152"/>
            <a:ext cx="2429943" cy="1715242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nb-NO" sz="1200" b="1"/>
              <a:t>Søknadsregistrerer</a:t>
            </a:r>
            <a:endParaRPr lang="nb-NO" sz="1200"/>
          </a:p>
          <a:p>
            <a:pPr marL="0" indent="0" algn="ctr">
              <a:buNone/>
            </a:pPr>
            <a:r>
              <a:rPr lang="nb-NO" sz="1200"/>
              <a:t>Denne rollen er startpunktet for den digitale prosessen. Dette kan gjerne være forskningsrådgiver eller prosjektøkonom. </a:t>
            </a:r>
            <a:endParaRPr lang="nb-NO" sz="1200" dirty="0"/>
          </a:p>
        </p:txBody>
      </p:sp>
    </p:spTree>
    <p:extLst>
      <p:ext uri="{BB962C8B-B14F-4D97-AF65-F5344CB8AC3E}">
        <p14:creationId xmlns:p14="http://schemas.microsoft.com/office/powerpoint/2010/main" val="131833126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3E2071AD-D6B2-4DFF-A839-F98C4200B5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9347"/>
            <a:ext cx="8428092" cy="648512"/>
          </a:xfrm>
        </p:spPr>
        <p:txBody>
          <a:bodyPr/>
          <a:lstStyle/>
          <a:p>
            <a:r>
              <a:rPr lang="nb-NO" dirty="0"/>
              <a:t>Plan NTNU</a:t>
            </a:r>
          </a:p>
        </p:txBody>
      </p:sp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81EF5EB5-5814-F4BE-687F-CC371071520F}"/>
              </a:ext>
            </a:extLst>
          </p:cNvPr>
          <p:cNvGraphicFramePr/>
          <p:nvPr/>
        </p:nvGraphicFramePr>
        <p:xfrm>
          <a:off x="28590" y="2111373"/>
          <a:ext cx="9086822" cy="7089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Arrow: Pentagon 132">
            <a:extLst>
              <a:ext uri="{FF2B5EF4-FFF2-40B4-BE49-F238E27FC236}">
                <a16:creationId xmlns:a16="http://schemas.microsoft.com/office/drawing/2014/main" id="{1EFF7F04-FF5E-23E6-AFBE-2809C728F5F2}"/>
              </a:ext>
            </a:extLst>
          </p:cNvPr>
          <p:cNvSpPr/>
          <p:nvPr/>
        </p:nvSpPr>
        <p:spPr bwMode="gray">
          <a:xfrm>
            <a:off x="28590" y="2953682"/>
            <a:ext cx="1920593" cy="184665"/>
          </a:xfrm>
          <a:prstGeom prst="homePlate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ctr" defTabSz="685766">
              <a:lnSpc>
                <a:spcPct val="106000"/>
              </a:lnSpc>
              <a:defRPr/>
            </a:pPr>
            <a:r>
              <a:rPr lang="nb-NO" sz="6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lanlegging</a:t>
            </a:r>
          </a:p>
        </p:txBody>
      </p:sp>
      <p:sp>
        <p:nvSpPr>
          <p:cNvPr id="9" name="Arrow: Chevron 133">
            <a:extLst>
              <a:ext uri="{FF2B5EF4-FFF2-40B4-BE49-F238E27FC236}">
                <a16:creationId xmlns:a16="http://schemas.microsoft.com/office/drawing/2014/main" id="{422CE2EE-1A06-BF6F-028C-2E3F65CD043C}"/>
              </a:ext>
            </a:extLst>
          </p:cNvPr>
          <p:cNvSpPr/>
          <p:nvPr/>
        </p:nvSpPr>
        <p:spPr bwMode="gray">
          <a:xfrm>
            <a:off x="1953384" y="2951923"/>
            <a:ext cx="2386671" cy="184196"/>
          </a:xfrm>
          <a:prstGeom prst="chevron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ctr" defTabSz="685766">
              <a:lnSpc>
                <a:spcPct val="106000"/>
              </a:lnSpc>
              <a:defRPr/>
            </a:pPr>
            <a:r>
              <a:rPr lang="nb-NO" sz="7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rosjektfase</a:t>
            </a:r>
          </a:p>
        </p:txBody>
      </p:sp>
      <p:sp>
        <p:nvSpPr>
          <p:cNvPr id="11" name="Diamond 100">
            <a:extLst>
              <a:ext uri="{FF2B5EF4-FFF2-40B4-BE49-F238E27FC236}">
                <a16:creationId xmlns:a16="http://schemas.microsoft.com/office/drawing/2014/main" id="{BD5C7A5B-2FB0-C081-7891-24716E4B7622}"/>
              </a:ext>
            </a:extLst>
          </p:cNvPr>
          <p:cNvSpPr/>
          <p:nvPr/>
        </p:nvSpPr>
        <p:spPr>
          <a:xfrm>
            <a:off x="158412" y="1458710"/>
            <a:ext cx="178708" cy="180000"/>
          </a:xfrm>
          <a:prstGeom prst="rect">
            <a:avLst/>
          </a:prstGeom>
          <a:solidFill>
            <a:srgbClr val="ED801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>
              <a:defRPr/>
            </a:pPr>
            <a:endParaRPr lang="nb-NO" b="1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2" name="Rectangle 145">
            <a:extLst>
              <a:ext uri="{FF2B5EF4-FFF2-40B4-BE49-F238E27FC236}">
                <a16:creationId xmlns:a16="http://schemas.microsoft.com/office/drawing/2014/main" id="{528BFBE6-1F9A-AED5-4BBD-67D220B71BBF}"/>
              </a:ext>
            </a:extLst>
          </p:cNvPr>
          <p:cNvSpPr/>
          <p:nvPr/>
        </p:nvSpPr>
        <p:spPr>
          <a:xfrm>
            <a:off x="1611069" y="1465075"/>
            <a:ext cx="178708" cy="180000"/>
          </a:xfrm>
          <a:prstGeom prst="rect">
            <a:avLst/>
          </a:prstGeom>
          <a:solidFill>
            <a:schemeClr val="accent1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>
              <a:defRPr/>
            </a:pPr>
            <a:endParaRPr lang="nb-NO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3" name="TextBox 146">
            <a:extLst>
              <a:ext uri="{FF2B5EF4-FFF2-40B4-BE49-F238E27FC236}">
                <a16:creationId xmlns:a16="http://schemas.microsoft.com/office/drawing/2014/main" id="{1296FF79-A316-1D4E-E73C-EAFE038CF170}"/>
              </a:ext>
            </a:extLst>
          </p:cNvPr>
          <p:cNvSpPr txBox="1"/>
          <p:nvPr/>
        </p:nvSpPr>
        <p:spPr>
          <a:xfrm>
            <a:off x="335602" y="1454177"/>
            <a:ext cx="1179481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178">
              <a:defRPr/>
            </a:pPr>
            <a:r>
              <a:rPr lang="nb-NO" sz="825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Lokalt</a:t>
            </a:r>
          </a:p>
        </p:txBody>
      </p:sp>
      <p:sp>
        <p:nvSpPr>
          <p:cNvPr id="15" name="TextBox 147">
            <a:extLst>
              <a:ext uri="{FF2B5EF4-FFF2-40B4-BE49-F238E27FC236}">
                <a16:creationId xmlns:a16="http://schemas.microsoft.com/office/drawing/2014/main" id="{6F1FDD13-0610-B93D-2607-CC0E21E4B9FC}"/>
              </a:ext>
            </a:extLst>
          </p:cNvPr>
          <p:cNvSpPr txBox="1"/>
          <p:nvPr/>
        </p:nvSpPr>
        <p:spPr>
          <a:xfrm>
            <a:off x="1745505" y="1454996"/>
            <a:ext cx="153598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178">
              <a:defRPr/>
            </a:pPr>
            <a:r>
              <a:rPr lang="nb-NO" sz="825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rosjekt</a:t>
            </a:r>
          </a:p>
        </p:txBody>
      </p:sp>
      <p:sp>
        <p:nvSpPr>
          <p:cNvPr id="16" name="Arrow: Chevron 133">
            <a:extLst>
              <a:ext uri="{FF2B5EF4-FFF2-40B4-BE49-F238E27FC236}">
                <a16:creationId xmlns:a16="http://schemas.microsoft.com/office/drawing/2014/main" id="{482FFCE7-06E7-54A6-EFF7-7C34E760C574}"/>
              </a:ext>
            </a:extLst>
          </p:cNvPr>
          <p:cNvSpPr/>
          <p:nvPr/>
        </p:nvSpPr>
        <p:spPr bwMode="gray">
          <a:xfrm>
            <a:off x="2693477" y="3431317"/>
            <a:ext cx="814388" cy="179810"/>
          </a:xfrm>
          <a:prstGeom prst="chevron">
            <a:avLst/>
          </a:prstGeom>
          <a:solidFill>
            <a:srgbClr val="ED801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>
              <a:lnSpc>
                <a:spcPct val="106000"/>
              </a:lnSpc>
              <a:defRPr/>
            </a:pPr>
            <a:r>
              <a:rPr lang="nb-NO" sz="600" dirty="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kseptansetest</a:t>
            </a:r>
          </a:p>
        </p:txBody>
      </p:sp>
      <p:cxnSp>
        <p:nvCxnSpPr>
          <p:cNvPr id="23" name="Kobling: buet 22">
            <a:extLst>
              <a:ext uri="{FF2B5EF4-FFF2-40B4-BE49-F238E27FC236}">
                <a16:creationId xmlns:a16="http://schemas.microsoft.com/office/drawing/2014/main" id="{570D466B-1A72-AB5C-975B-692E4B887ACC}"/>
              </a:ext>
            </a:extLst>
          </p:cNvPr>
          <p:cNvCxnSpPr>
            <a:cxnSpLocks/>
            <a:stCxn id="9" idx="0"/>
          </p:cNvCxnSpPr>
          <p:nvPr/>
        </p:nvCxnSpPr>
        <p:spPr>
          <a:xfrm rot="5400000" flipH="1" flipV="1">
            <a:off x="3215229" y="2729437"/>
            <a:ext cx="107928" cy="337044"/>
          </a:xfrm>
          <a:prstGeom prst="curvedConnector2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Diamond 84">
            <a:extLst>
              <a:ext uri="{FF2B5EF4-FFF2-40B4-BE49-F238E27FC236}">
                <a16:creationId xmlns:a16="http://schemas.microsoft.com/office/drawing/2014/main" id="{C659E7C5-4703-984F-E5B2-2F1E322A0677}"/>
              </a:ext>
            </a:extLst>
          </p:cNvPr>
          <p:cNvSpPr/>
          <p:nvPr/>
        </p:nvSpPr>
        <p:spPr>
          <a:xfrm>
            <a:off x="3519134" y="2180581"/>
            <a:ext cx="178708" cy="188094"/>
          </a:xfrm>
          <a:prstGeom prst="diamond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>
              <a:defRPr/>
            </a:pPr>
            <a:endParaRPr lang="nb-NO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26" name="Diamond 84">
            <a:extLst>
              <a:ext uri="{FF2B5EF4-FFF2-40B4-BE49-F238E27FC236}">
                <a16:creationId xmlns:a16="http://schemas.microsoft.com/office/drawing/2014/main" id="{B1F073A3-2925-84CE-1E83-EACF4235D881}"/>
              </a:ext>
            </a:extLst>
          </p:cNvPr>
          <p:cNvSpPr/>
          <p:nvPr/>
        </p:nvSpPr>
        <p:spPr>
          <a:xfrm>
            <a:off x="361259" y="2180581"/>
            <a:ext cx="178708" cy="188094"/>
          </a:xfrm>
          <a:prstGeom prst="diamond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>
              <a:defRPr/>
            </a:pPr>
            <a:endParaRPr lang="nb-NO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27" name="TekstSylinder 26">
            <a:extLst>
              <a:ext uri="{FF2B5EF4-FFF2-40B4-BE49-F238E27FC236}">
                <a16:creationId xmlns:a16="http://schemas.microsoft.com/office/drawing/2014/main" id="{D1694DD2-B197-3B0A-D906-4E4647DD5F99}"/>
              </a:ext>
            </a:extLst>
          </p:cNvPr>
          <p:cNvSpPr txBox="1"/>
          <p:nvPr/>
        </p:nvSpPr>
        <p:spPr>
          <a:xfrm>
            <a:off x="676647" y="1799750"/>
            <a:ext cx="112883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8">
              <a:defRPr/>
            </a:pPr>
            <a:r>
              <a:rPr lang="nb-NO" sz="900" dirty="0">
                <a:solidFill>
                  <a:prstClr val="black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rosjektoppstart</a:t>
            </a:r>
          </a:p>
        </p:txBody>
      </p:sp>
      <p:sp>
        <p:nvSpPr>
          <p:cNvPr id="29" name="TekstSylinder 28">
            <a:extLst>
              <a:ext uri="{FF2B5EF4-FFF2-40B4-BE49-F238E27FC236}">
                <a16:creationId xmlns:a16="http://schemas.microsoft.com/office/drawing/2014/main" id="{DDE096A7-C0F4-D64D-20DF-A2D8874801D6}"/>
              </a:ext>
            </a:extLst>
          </p:cNvPr>
          <p:cNvSpPr txBox="1"/>
          <p:nvPr/>
        </p:nvSpPr>
        <p:spPr>
          <a:xfrm>
            <a:off x="3844916" y="1799750"/>
            <a:ext cx="60625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8">
              <a:defRPr/>
            </a:pPr>
            <a:r>
              <a:rPr lang="nb-NO" sz="900" dirty="0">
                <a:solidFill>
                  <a:prstClr val="black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Go-live</a:t>
            </a:r>
          </a:p>
        </p:txBody>
      </p:sp>
      <p:cxnSp>
        <p:nvCxnSpPr>
          <p:cNvPr id="30" name="Kobling: buet 29">
            <a:extLst>
              <a:ext uri="{FF2B5EF4-FFF2-40B4-BE49-F238E27FC236}">
                <a16:creationId xmlns:a16="http://schemas.microsoft.com/office/drawing/2014/main" id="{4F427509-45E5-7A63-8748-816C14A40AEB}"/>
              </a:ext>
            </a:extLst>
          </p:cNvPr>
          <p:cNvCxnSpPr>
            <a:stCxn id="27" idx="1"/>
            <a:endCxn id="26" idx="0"/>
          </p:cNvCxnSpPr>
          <p:nvPr/>
        </p:nvCxnSpPr>
        <p:spPr>
          <a:xfrm rot="10800000" flipV="1">
            <a:off x="450613" y="1915165"/>
            <a:ext cx="226034" cy="265415"/>
          </a:xfrm>
          <a:prstGeom prst="curved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Kobling: buet 30">
            <a:extLst>
              <a:ext uri="{FF2B5EF4-FFF2-40B4-BE49-F238E27FC236}">
                <a16:creationId xmlns:a16="http://schemas.microsoft.com/office/drawing/2014/main" id="{D435BDD5-B8C1-0996-5B82-4553AC61D1BD}"/>
              </a:ext>
            </a:extLst>
          </p:cNvPr>
          <p:cNvCxnSpPr>
            <a:stCxn id="29" idx="1"/>
            <a:endCxn id="25" idx="0"/>
          </p:cNvCxnSpPr>
          <p:nvPr/>
        </p:nvCxnSpPr>
        <p:spPr>
          <a:xfrm rot="10800000" flipV="1">
            <a:off x="3608488" y="1915165"/>
            <a:ext cx="236428" cy="265415"/>
          </a:xfrm>
          <a:prstGeom prst="curved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2" name="Arrow: Chevron 133">
            <a:extLst>
              <a:ext uri="{FF2B5EF4-FFF2-40B4-BE49-F238E27FC236}">
                <a16:creationId xmlns:a16="http://schemas.microsoft.com/office/drawing/2014/main" id="{20DF8D73-0257-5D80-5FF7-C462893B1444}"/>
              </a:ext>
            </a:extLst>
          </p:cNvPr>
          <p:cNvSpPr/>
          <p:nvPr/>
        </p:nvSpPr>
        <p:spPr bwMode="gray">
          <a:xfrm>
            <a:off x="5730927" y="2956309"/>
            <a:ext cx="3384483" cy="179810"/>
          </a:xfrm>
          <a:prstGeom prst="chevron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ctr" defTabSz="685766">
              <a:lnSpc>
                <a:spcPct val="106000"/>
              </a:lnSpc>
              <a:defRPr/>
            </a:pPr>
            <a:r>
              <a:rPr lang="nb-NO" sz="6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Oppfølging</a:t>
            </a:r>
          </a:p>
        </p:txBody>
      </p:sp>
      <p:sp>
        <p:nvSpPr>
          <p:cNvPr id="5" name="Arrow: Chevron 133">
            <a:extLst>
              <a:ext uri="{FF2B5EF4-FFF2-40B4-BE49-F238E27FC236}">
                <a16:creationId xmlns:a16="http://schemas.microsoft.com/office/drawing/2014/main" id="{4E55CDF4-8348-8DD9-E820-E7E10D0FD5BB}"/>
              </a:ext>
            </a:extLst>
          </p:cNvPr>
          <p:cNvSpPr/>
          <p:nvPr/>
        </p:nvSpPr>
        <p:spPr bwMode="gray">
          <a:xfrm>
            <a:off x="2868094" y="2624344"/>
            <a:ext cx="1904563" cy="184196"/>
          </a:xfrm>
          <a:prstGeom prst="chevron">
            <a:avLst/>
          </a:prstGeom>
          <a:solidFill>
            <a:srgbClr val="ED8013"/>
          </a:solidFill>
          <a:ln w="762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>
              <a:defRPr/>
            </a:pPr>
            <a:r>
              <a:rPr lang="nb-NO" sz="6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Kommunikasjon</a:t>
            </a:r>
          </a:p>
        </p:txBody>
      </p:sp>
      <p:sp>
        <p:nvSpPr>
          <p:cNvPr id="6" name="Arrow: Chevron 133">
            <a:extLst>
              <a:ext uri="{FF2B5EF4-FFF2-40B4-BE49-F238E27FC236}">
                <a16:creationId xmlns:a16="http://schemas.microsoft.com/office/drawing/2014/main" id="{E7270FD8-EE69-12E8-23A4-B80F26F92C48}"/>
              </a:ext>
            </a:extLst>
          </p:cNvPr>
          <p:cNvSpPr/>
          <p:nvPr/>
        </p:nvSpPr>
        <p:spPr bwMode="gray">
          <a:xfrm>
            <a:off x="5889020" y="3487084"/>
            <a:ext cx="2531814" cy="179810"/>
          </a:xfrm>
          <a:prstGeom prst="chevron">
            <a:avLst/>
          </a:prstGeom>
          <a:solidFill>
            <a:srgbClr val="ED8013"/>
          </a:solidFill>
          <a:ln w="762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>
              <a:defRPr/>
            </a:pPr>
            <a:r>
              <a:rPr lang="nb-NO" sz="700" dirty="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Hoved-innføring NTNU</a:t>
            </a:r>
          </a:p>
        </p:txBody>
      </p:sp>
      <p:sp>
        <p:nvSpPr>
          <p:cNvPr id="7" name="Arrow: Chevron 133">
            <a:extLst>
              <a:ext uri="{FF2B5EF4-FFF2-40B4-BE49-F238E27FC236}">
                <a16:creationId xmlns:a16="http://schemas.microsoft.com/office/drawing/2014/main" id="{9E3E7199-0D11-553D-3DC0-E4B87E3EE7C8}"/>
              </a:ext>
            </a:extLst>
          </p:cNvPr>
          <p:cNvSpPr/>
          <p:nvPr/>
        </p:nvSpPr>
        <p:spPr bwMode="gray">
          <a:xfrm>
            <a:off x="5889020" y="2627329"/>
            <a:ext cx="2531814" cy="181211"/>
          </a:xfrm>
          <a:prstGeom prst="chevron">
            <a:avLst/>
          </a:prstGeom>
          <a:solidFill>
            <a:srgbClr val="ED801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>
              <a:defRPr/>
            </a:pPr>
            <a:r>
              <a:rPr lang="nb-NO" sz="600" dirty="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Opplæring alle NTNU</a:t>
            </a:r>
          </a:p>
        </p:txBody>
      </p:sp>
      <p:sp>
        <p:nvSpPr>
          <p:cNvPr id="17" name="Arrow: Chevron 133">
            <a:extLst>
              <a:ext uri="{FF2B5EF4-FFF2-40B4-BE49-F238E27FC236}">
                <a16:creationId xmlns:a16="http://schemas.microsoft.com/office/drawing/2014/main" id="{E2652A5F-87A0-E616-5BB1-69C6E9694861}"/>
              </a:ext>
            </a:extLst>
          </p:cNvPr>
          <p:cNvSpPr/>
          <p:nvPr/>
        </p:nvSpPr>
        <p:spPr bwMode="gray">
          <a:xfrm>
            <a:off x="2133067" y="3210760"/>
            <a:ext cx="814388" cy="179810"/>
          </a:xfrm>
          <a:prstGeom prst="chevron">
            <a:avLst/>
          </a:prstGeom>
          <a:solidFill>
            <a:srgbClr val="ED801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>
              <a:lnSpc>
                <a:spcPct val="106000"/>
              </a:lnSpc>
              <a:defRPr/>
            </a:pPr>
            <a:r>
              <a:rPr lang="nb-NO" sz="600" dirty="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esign-sprint</a:t>
            </a:r>
          </a:p>
        </p:txBody>
      </p:sp>
      <p:sp>
        <p:nvSpPr>
          <p:cNvPr id="18" name="Diamond 84">
            <a:extLst>
              <a:ext uri="{FF2B5EF4-FFF2-40B4-BE49-F238E27FC236}">
                <a16:creationId xmlns:a16="http://schemas.microsoft.com/office/drawing/2014/main" id="{6FE3B650-914F-B88B-4B89-55A5629150B5}"/>
              </a:ext>
            </a:extLst>
          </p:cNvPr>
          <p:cNvSpPr/>
          <p:nvPr/>
        </p:nvSpPr>
        <p:spPr>
          <a:xfrm>
            <a:off x="8195825" y="2181907"/>
            <a:ext cx="178708" cy="188094"/>
          </a:xfrm>
          <a:prstGeom prst="diamond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>
              <a:defRPr/>
            </a:pPr>
            <a:endParaRPr lang="nb-NO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20" name="TekstSylinder 19">
            <a:extLst>
              <a:ext uri="{FF2B5EF4-FFF2-40B4-BE49-F238E27FC236}">
                <a16:creationId xmlns:a16="http://schemas.microsoft.com/office/drawing/2014/main" id="{3C1417D8-098F-93BE-7692-AC7050426828}"/>
              </a:ext>
            </a:extLst>
          </p:cNvPr>
          <p:cNvSpPr txBox="1"/>
          <p:nvPr/>
        </p:nvSpPr>
        <p:spPr>
          <a:xfrm>
            <a:off x="7424813" y="1510093"/>
            <a:ext cx="84561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8">
              <a:defRPr/>
            </a:pPr>
            <a:r>
              <a:rPr lang="nb-NO" sz="900" dirty="0">
                <a:solidFill>
                  <a:prstClr val="black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lle søknader i systemet</a:t>
            </a:r>
          </a:p>
        </p:txBody>
      </p:sp>
      <p:sp>
        <p:nvSpPr>
          <p:cNvPr id="19" name="Arrow: Chevron 133">
            <a:extLst>
              <a:ext uri="{FF2B5EF4-FFF2-40B4-BE49-F238E27FC236}">
                <a16:creationId xmlns:a16="http://schemas.microsoft.com/office/drawing/2014/main" id="{D8CFC968-051C-D742-23D8-DFEB1D371325}"/>
              </a:ext>
            </a:extLst>
          </p:cNvPr>
          <p:cNvSpPr/>
          <p:nvPr/>
        </p:nvSpPr>
        <p:spPr bwMode="gray">
          <a:xfrm>
            <a:off x="3697842" y="3182558"/>
            <a:ext cx="900755" cy="416023"/>
          </a:xfrm>
          <a:prstGeom prst="chevron">
            <a:avLst/>
          </a:prstGeom>
          <a:solidFill>
            <a:srgbClr val="ED801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178">
              <a:defRPr/>
            </a:pPr>
            <a:r>
              <a:rPr lang="nb-NO" sz="600" dirty="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Opplæring første runde</a:t>
            </a:r>
          </a:p>
        </p:txBody>
      </p:sp>
      <p:sp>
        <p:nvSpPr>
          <p:cNvPr id="22" name="Diamond 84">
            <a:extLst>
              <a:ext uri="{FF2B5EF4-FFF2-40B4-BE49-F238E27FC236}">
                <a16:creationId xmlns:a16="http://schemas.microsoft.com/office/drawing/2014/main" id="{FE8E1212-B2D2-8A78-5263-69DC6B460F55}"/>
              </a:ext>
            </a:extLst>
          </p:cNvPr>
          <p:cNvSpPr/>
          <p:nvPr/>
        </p:nvSpPr>
        <p:spPr>
          <a:xfrm>
            <a:off x="7477592" y="2178390"/>
            <a:ext cx="178708" cy="188094"/>
          </a:xfrm>
          <a:prstGeom prst="diamond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>
              <a:defRPr/>
            </a:pPr>
            <a:endParaRPr lang="nb-NO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24" name="TekstSylinder 23">
            <a:extLst>
              <a:ext uri="{FF2B5EF4-FFF2-40B4-BE49-F238E27FC236}">
                <a16:creationId xmlns:a16="http://schemas.microsoft.com/office/drawing/2014/main" id="{62947116-4479-1912-DDBA-8F5F277DFDAA}"/>
              </a:ext>
            </a:extLst>
          </p:cNvPr>
          <p:cNvSpPr txBox="1"/>
          <p:nvPr/>
        </p:nvSpPr>
        <p:spPr>
          <a:xfrm>
            <a:off x="6586377" y="1459165"/>
            <a:ext cx="9658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8">
              <a:defRPr/>
            </a:pPr>
            <a:r>
              <a:rPr lang="nb-NO" sz="900" dirty="0">
                <a:solidFill>
                  <a:prstClr val="black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ases (opplæring)</a:t>
            </a:r>
          </a:p>
        </p:txBody>
      </p:sp>
      <p:cxnSp>
        <p:nvCxnSpPr>
          <p:cNvPr id="28" name="Kobling: buet 27">
            <a:extLst>
              <a:ext uri="{FF2B5EF4-FFF2-40B4-BE49-F238E27FC236}">
                <a16:creationId xmlns:a16="http://schemas.microsoft.com/office/drawing/2014/main" id="{9B6BD9B3-15EC-E2A7-F450-ADB7ED2AA741}"/>
              </a:ext>
            </a:extLst>
          </p:cNvPr>
          <p:cNvCxnSpPr>
            <a:cxnSpLocks/>
            <a:stCxn id="24" idx="1"/>
            <a:endCxn id="22" idx="0"/>
          </p:cNvCxnSpPr>
          <p:nvPr/>
        </p:nvCxnSpPr>
        <p:spPr>
          <a:xfrm rot="10800000" flipH="1" flipV="1">
            <a:off x="6586376" y="1643830"/>
            <a:ext cx="980569" cy="534559"/>
          </a:xfrm>
          <a:prstGeom prst="curvedConnector4">
            <a:avLst>
              <a:gd name="adj1" fmla="val -23313"/>
              <a:gd name="adj2" fmla="val 67273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Kobling: buet 32">
            <a:extLst>
              <a:ext uri="{FF2B5EF4-FFF2-40B4-BE49-F238E27FC236}">
                <a16:creationId xmlns:a16="http://schemas.microsoft.com/office/drawing/2014/main" id="{C5ACE9DC-0BD1-D15D-24A8-377C6F1594FF}"/>
              </a:ext>
            </a:extLst>
          </p:cNvPr>
          <p:cNvCxnSpPr>
            <a:cxnSpLocks/>
            <a:stCxn id="20" idx="2"/>
          </p:cNvCxnSpPr>
          <p:nvPr/>
        </p:nvCxnSpPr>
        <p:spPr>
          <a:xfrm rot="16200000" flipH="1">
            <a:off x="7947154" y="1918388"/>
            <a:ext cx="193270" cy="392342"/>
          </a:xfrm>
          <a:prstGeom prst="curved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9" name="Diamond 84">
            <a:extLst>
              <a:ext uri="{FF2B5EF4-FFF2-40B4-BE49-F238E27FC236}">
                <a16:creationId xmlns:a16="http://schemas.microsoft.com/office/drawing/2014/main" id="{8D2C1D66-6EAD-E16B-D325-B19A3D467A3C}"/>
              </a:ext>
            </a:extLst>
          </p:cNvPr>
          <p:cNvSpPr/>
          <p:nvPr/>
        </p:nvSpPr>
        <p:spPr>
          <a:xfrm>
            <a:off x="8606901" y="2174986"/>
            <a:ext cx="178708" cy="188094"/>
          </a:xfrm>
          <a:prstGeom prst="diamond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>
              <a:defRPr/>
            </a:pPr>
            <a:endParaRPr lang="nb-NO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40" name="TekstSylinder 39">
            <a:extLst>
              <a:ext uri="{FF2B5EF4-FFF2-40B4-BE49-F238E27FC236}">
                <a16:creationId xmlns:a16="http://schemas.microsoft.com/office/drawing/2014/main" id="{35B7E6A9-4077-A2E3-BC4A-5CF6786A4DFF}"/>
              </a:ext>
            </a:extLst>
          </p:cNvPr>
          <p:cNvSpPr txBox="1"/>
          <p:nvPr/>
        </p:nvSpPr>
        <p:spPr>
          <a:xfrm>
            <a:off x="8467353" y="1632802"/>
            <a:ext cx="5902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8">
              <a:defRPr/>
            </a:pPr>
            <a:r>
              <a:rPr lang="nb-NO" sz="900" dirty="0">
                <a:solidFill>
                  <a:prstClr val="black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aste-</a:t>
            </a:r>
            <a:br>
              <a:rPr lang="nb-NO" sz="900" dirty="0">
                <a:solidFill>
                  <a:prstClr val="black"/>
                </a:solidFill>
                <a:latin typeface="Poppins" panose="00000500000000000000" pitchFamily="2" charset="0"/>
                <a:cs typeface="Poppins" panose="00000500000000000000" pitchFamily="2" charset="0"/>
              </a:rPr>
            </a:br>
            <a:r>
              <a:rPr lang="nb-NO" sz="900" dirty="0">
                <a:solidFill>
                  <a:prstClr val="black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aféer </a:t>
            </a:r>
          </a:p>
        </p:txBody>
      </p:sp>
      <p:cxnSp>
        <p:nvCxnSpPr>
          <p:cNvPr id="41" name="Kobling: buet 40">
            <a:extLst>
              <a:ext uri="{FF2B5EF4-FFF2-40B4-BE49-F238E27FC236}">
                <a16:creationId xmlns:a16="http://schemas.microsoft.com/office/drawing/2014/main" id="{3ADC4DD7-9DE4-0166-4D1C-9A1F8D6A7966}"/>
              </a:ext>
            </a:extLst>
          </p:cNvPr>
          <p:cNvCxnSpPr>
            <a:cxnSpLocks/>
            <a:stCxn id="40" idx="2"/>
            <a:endCxn id="39" idx="0"/>
          </p:cNvCxnSpPr>
          <p:nvPr/>
        </p:nvCxnSpPr>
        <p:spPr>
          <a:xfrm rot="5400000">
            <a:off x="8642935" y="2055455"/>
            <a:ext cx="172852" cy="66211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408447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EE21261-98E4-D34E-36D6-92D2385201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98339"/>
            <a:ext cx="7615382" cy="1202510"/>
          </a:xfrm>
        </p:spPr>
        <p:txBody>
          <a:bodyPr/>
          <a:lstStyle/>
          <a:p>
            <a:r>
              <a:rPr lang="nb-NO" dirty="0"/>
              <a:t>Oppdatering Prosjektsøknadsmodulen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DC0B5DA8-0024-5A7F-118E-1C16432C30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612557"/>
            <a:ext cx="8229600" cy="3203378"/>
          </a:xfrm>
        </p:spPr>
        <p:txBody>
          <a:bodyPr>
            <a:normAutofit fontScale="92500" lnSpcReduction="10000"/>
          </a:bodyPr>
          <a:lstStyle/>
          <a:p>
            <a:pPr>
              <a:buFont typeface="Wingdings" panose="05000000000000000000" pitchFamily="2" charset="2"/>
              <a:buChar char="ü"/>
            </a:pPr>
            <a:r>
              <a:rPr lang="nb-NO" dirty="0"/>
              <a:t>Sprint 1 og 2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nb-NO" dirty="0"/>
              <a:t>Brukerdokumentasjon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nb-NO" dirty="0"/>
              <a:t>DFØ brukerveiledning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nb-NO" dirty="0"/>
              <a:t>Enkle veiledere for SR og BDM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nb-NO" dirty="0"/>
              <a:t>Innmelding roller (</a:t>
            </a:r>
            <a:r>
              <a:rPr lang="nb-NO" dirty="0" err="1"/>
              <a:t>søknadsregistrerer</a:t>
            </a:r>
            <a:r>
              <a:rPr lang="nb-NO" dirty="0"/>
              <a:t>, prosjektøkonom og </a:t>
            </a:r>
            <a:r>
              <a:rPr lang="nb-NO" dirty="0" err="1"/>
              <a:t>kostnadsgodkjenner</a:t>
            </a:r>
            <a:r>
              <a:rPr lang="nb-NO" dirty="0"/>
              <a:t> (BDM))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nb-NO" dirty="0"/>
              <a:t>Akseptansetest</a:t>
            </a:r>
          </a:p>
          <a:p>
            <a:pPr lvl="1"/>
            <a:r>
              <a:rPr lang="nb-NO" dirty="0"/>
              <a:t>Deltakere fra flere </a:t>
            </a:r>
            <a:r>
              <a:rPr lang="nb-NO" dirty="0" err="1"/>
              <a:t>fak</a:t>
            </a:r>
            <a:r>
              <a:rPr lang="nb-NO" dirty="0"/>
              <a:t>/</a:t>
            </a:r>
            <a:r>
              <a:rPr lang="nb-NO" dirty="0" err="1"/>
              <a:t>inst</a:t>
            </a:r>
            <a:r>
              <a:rPr lang="nb-NO" dirty="0"/>
              <a:t> ved NTNU</a:t>
            </a:r>
          </a:p>
          <a:p>
            <a:pPr lvl="1"/>
            <a:r>
              <a:rPr lang="nb-NO" dirty="0"/>
              <a:t>Avvik og endringsønsker</a:t>
            </a:r>
          </a:p>
        </p:txBody>
      </p:sp>
    </p:spTree>
    <p:extLst>
      <p:ext uri="{BB962C8B-B14F-4D97-AF65-F5344CB8AC3E}">
        <p14:creationId xmlns:p14="http://schemas.microsoft.com/office/powerpoint/2010/main" val="134075417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EE21261-98E4-D34E-36D6-92D2385201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98339"/>
            <a:ext cx="7615382" cy="1202510"/>
          </a:xfrm>
        </p:spPr>
        <p:txBody>
          <a:bodyPr/>
          <a:lstStyle/>
          <a:p>
            <a:r>
              <a:rPr lang="nb-NO" dirty="0"/>
              <a:t>Oppdatering forts. Prosjektsøknadsmodulen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DC0B5DA8-0024-5A7F-118E-1C16432C30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612557"/>
            <a:ext cx="8229600" cy="3203378"/>
          </a:xfrm>
        </p:spPr>
        <p:txBody>
          <a:bodyPr/>
          <a:lstStyle/>
          <a:p>
            <a:pPr>
              <a:buFont typeface="Wingdings" panose="05000000000000000000" pitchFamily="2" charset="2"/>
              <a:buChar char="ü"/>
            </a:pPr>
            <a:r>
              <a:rPr lang="nb-NO" dirty="0"/>
              <a:t>Kommunikasjon</a:t>
            </a:r>
          </a:p>
          <a:p>
            <a:pPr lvl="1"/>
            <a:r>
              <a:rPr lang="nb-NO" sz="18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NTNU Wiki: </a:t>
            </a:r>
            <a:r>
              <a:rPr lang="nb-NO" sz="1800" b="0" i="0" u="sng" strike="noStrike" dirty="0">
                <a:solidFill>
                  <a:srgbClr val="3D2A68"/>
                </a:solidFill>
                <a:effectLst/>
                <a:latin typeface="Arial" panose="020B0604020202020204" pitchFamily="34" charset="0"/>
                <a:hlinkClick r:id="rId2"/>
              </a:rPr>
              <a:t>NTNU økonomi og lønn forvaltning - Kunnskapsbasen - NTNU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b="0" i="0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lvl="1"/>
            <a:r>
              <a:rPr lang="nb-NO" dirty="0"/>
              <a:t>Opptak opplæring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nb-NO" dirty="0"/>
              <a:t>Kursbeskrivelser, opplæringsplan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nb-NO" dirty="0"/>
              <a:t>Pilot-opplæring (alle roller) i juni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nb-NO" dirty="0"/>
              <a:t>Opplæring alle i september</a:t>
            </a:r>
          </a:p>
        </p:txBody>
      </p:sp>
    </p:spTree>
    <p:extLst>
      <p:ext uri="{BB962C8B-B14F-4D97-AF65-F5344CB8AC3E}">
        <p14:creationId xmlns:p14="http://schemas.microsoft.com/office/powerpoint/2010/main" val="297496513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EE21261-98E4-D34E-36D6-92D2385201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98339"/>
            <a:ext cx="7615382" cy="1202510"/>
          </a:xfrm>
        </p:spPr>
        <p:txBody>
          <a:bodyPr/>
          <a:lstStyle/>
          <a:p>
            <a:r>
              <a:rPr lang="nb-NO" dirty="0"/>
              <a:t>Oppdatering forts. Prosjektsøknadsmodulen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DC0B5DA8-0024-5A7F-118E-1C16432C30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612557"/>
            <a:ext cx="8229600" cy="3203378"/>
          </a:xfrm>
        </p:spPr>
        <p:txBody>
          <a:bodyPr/>
          <a:lstStyle/>
          <a:p>
            <a:pPr>
              <a:buFont typeface="Wingdings" panose="05000000000000000000" pitchFamily="2" charset="2"/>
              <a:buChar char="ü"/>
            </a:pPr>
            <a:r>
              <a:rPr lang="nb-NO" dirty="0"/>
              <a:t>Møter med fakultet/institutt etter behov og ønsker</a:t>
            </a:r>
          </a:p>
          <a:p>
            <a:r>
              <a:rPr lang="nb-NO" dirty="0"/>
              <a:t>Taste-caféer (for rollene SR og PØ) med caser/reelle november/desember</a:t>
            </a:r>
          </a:p>
          <a:p>
            <a:r>
              <a:rPr lang="nb-NO" dirty="0"/>
              <a:t>Taste-caféer med reelle søknader januar</a:t>
            </a:r>
          </a:p>
          <a:p>
            <a:r>
              <a:rPr lang="nb-NO" dirty="0"/>
              <a:t>Alle søknader med frist fra og med 1. januar 2024 skal registreres i søknadsmodulen</a:t>
            </a:r>
          </a:p>
        </p:txBody>
      </p:sp>
    </p:spTree>
    <p:extLst>
      <p:ext uri="{BB962C8B-B14F-4D97-AF65-F5344CB8AC3E}">
        <p14:creationId xmlns:p14="http://schemas.microsoft.com/office/powerpoint/2010/main" val="50332898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AB04280-EFF6-0070-6E20-DEE555FB42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Ønskeliste…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5EE81DAB-5B89-E098-B7A4-C5ABBB0435D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dirty="0"/>
              <a:t>Initieringsskjema </a:t>
            </a:r>
          </a:p>
          <a:p>
            <a:pPr lvl="1"/>
            <a:r>
              <a:rPr lang="nb-NO" dirty="0"/>
              <a:t>All info som går inn i Veiviser (inkl. bekreftelsesspørsmål) blir sendt inn av prosjektleder</a:t>
            </a:r>
          </a:p>
          <a:p>
            <a:r>
              <a:rPr lang="nb-NO" dirty="0"/>
              <a:t>Søknader i Bevisst</a:t>
            </a:r>
          </a:p>
          <a:p>
            <a:pPr lvl="1"/>
            <a:r>
              <a:rPr lang="nb-NO" dirty="0"/>
              <a:t>Prosjektledere (og ledelsen) får oversikt over både søknader og prosjekt</a:t>
            </a:r>
          </a:p>
        </p:txBody>
      </p:sp>
    </p:spTree>
    <p:extLst>
      <p:ext uri="{BB962C8B-B14F-4D97-AF65-F5344CB8AC3E}">
        <p14:creationId xmlns:p14="http://schemas.microsoft.com/office/powerpoint/2010/main" val="178831150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02A226A-782B-ED3E-B7E5-81C1388846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Status utvikling Bevisst 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FF76F754-8BBE-61B8-E782-69EF58EEFA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6573" y="1433015"/>
            <a:ext cx="8381997" cy="3161608"/>
          </a:xfrm>
        </p:spPr>
        <p:txBody>
          <a:bodyPr/>
          <a:lstStyle/>
          <a:p>
            <a:endParaRPr lang="nb-NO" b="0" i="0" dirty="0">
              <a:effectLst/>
              <a:latin typeface="-apple-system"/>
            </a:endParaRPr>
          </a:p>
          <a:p>
            <a:r>
              <a:rPr lang="nb-NO" b="0" i="0" dirty="0">
                <a:effectLst/>
                <a:latin typeface="-apple-system"/>
              </a:rPr>
              <a:t>Prosjektlederportal i BEVISST Innsikt </a:t>
            </a:r>
            <a:endParaRPr lang="nb-NO" dirty="0">
              <a:latin typeface="-apple-system"/>
            </a:endParaRPr>
          </a:p>
          <a:p>
            <a:r>
              <a:rPr lang="nb-NO" b="0" i="0" dirty="0">
                <a:effectLst/>
                <a:latin typeface="-apple-system"/>
              </a:rPr>
              <a:t>Bemanningsplan i BEVISST Plan</a:t>
            </a:r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446188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tel 1"/>
          <p:cNvSpPr>
            <a:spLocks noGrp="1"/>
          </p:cNvSpPr>
          <p:nvPr>
            <p:ph type="ctrTitle"/>
          </p:nvPr>
        </p:nvSpPr>
        <p:spPr>
          <a:xfrm>
            <a:off x="408508" y="805075"/>
            <a:ext cx="7772400" cy="675821"/>
          </a:xfrm>
        </p:spPr>
        <p:txBody>
          <a:bodyPr anchor="t">
            <a:normAutofit/>
          </a:bodyPr>
          <a:lstStyle/>
          <a:p>
            <a:r>
              <a:rPr lang="nb-NO" dirty="0">
                <a:solidFill>
                  <a:srgbClr val="0C4788"/>
                </a:solidFill>
              </a:rPr>
              <a:t>Agenda</a:t>
            </a:r>
          </a:p>
        </p:txBody>
      </p:sp>
      <p:sp>
        <p:nvSpPr>
          <p:cNvPr id="20" name="Plassholder for innhold 2"/>
          <p:cNvSpPr>
            <a:spLocks noGrp="1"/>
          </p:cNvSpPr>
          <p:nvPr>
            <p:ph type="subTitle" idx="1"/>
          </p:nvPr>
        </p:nvSpPr>
        <p:spPr>
          <a:xfrm>
            <a:off x="408508" y="1604882"/>
            <a:ext cx="8301860" cy="3014367"/>
          </a:xfrm>
        </p:spPr>
        <p:txBody>
          <a:bodyPr vert="horz" lIns="91440" tIns="45720" rIns="91440" bIns="45720" rtlCol="0">
            <a:normAutofit fontScale="77500" lnSpcReduction="20000"/>
          </a:bodyPr>
          <a:lstStyle/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nb-NO" sz="1500" dirty="0"/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nb-NO" sz="23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Velkommen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nb-NO" sz="23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Status fra forvaltingen</a:t>
            </a:r>
          </a:p>
          <a:p>
            <a:pPr marL="800100" lvl="1" indent="-342900" algn="l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nb-NO" sz="23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nføring av løsning EVU</a:t>
            </a:r>
          </a:p>
          <a:p>
            <a:pPr marL="800100" lvl="1" indent="-342900" algn="l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nb-NO" sz="23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nføring av prosjektsøknadsmodul</a:t>
            </a:r>
          </a:p>
          <a:p>
            <a:pPr marL="800100" lvl="1" indent="-342900" algn="l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nb-NO" sz="23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tatus Bevisst utvikling</a:t>
            </a:r>
          </a:p>
          <a:p>
            <a:pPr marL="800100" lvl="1" indent="-342900" algn="l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nb-NO" sz="23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iltak etter risikovurdering våren 2023</a:t>
            </a:r>
          </a:p>
          <a:p>
            <a:pPr marL="800100" lvl="1" indent="-342900" algn="l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nb-NO" sz="23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tatus fra prosessene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nb-NO" sz="23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pørsmål om tverrfaglig team Fordring til innbetaling (diskusjonsspørsmål)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nb-NO" sz="23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Kommende hendelser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nb-NO" sz="23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ventuelt</a:t>
            </a:r>
          </a:p>
        </p:txBody>
      </p:sp>
    </p:spTree>
    <p:extLst>
      <p:ext uri="{BB962C8B-B14F-4D97-AF65-F5344CB8AC3E}">
        <p14:creationId xmlns:p14="http://schemas.microsoft.com/office/powerpoint/2010/main" val="330688706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FC4CC2B4-DE2E-6299-A4AF-BE909B7D19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323439"/>
          </a:xfrm>
        </p:spPr>
        <p:txBody>
          <a:bodyPr/>
          <a:lstStyle/>
          <a:p>
            <a:r>
              <a:rPr lang="nb-NO" dirty="0"/>
              <a:t>Tiltak etter risikovurdering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FFEB5F73-C465-6C11-7B67-E9AD01A8B28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Status</a:t>
            </a:r>
          </a:p>
        </p:txBody>
      </p:sp>
    </p:spTree>
    <p:extLst>
      <p:ext uri="{BB962C8B-B14F-4D97-AF65-F5344CB8AC3E}">
        <p14:creationId xmlns:p14="http://schemas.microsoft.com/office/powerpoint/2010/main" val="3792764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38339703-966B-115B-87DA-1D1D949C5B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38339703-966B-115B-87DA-1D1D949C5B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52DBA798-5DD5-0CB9-F645-9DE982C6CF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98339"/>
            <a:ext cx="7615382" cy="833178"/>
          </a:xfrm>
        </p:spPr>
        <p:txBody>
          <a:bodyPr vert="horz"/>
          <a:lstStyle/>
          <a:p>
            <a:r>
              <a:rPr lang="nb-NO" sz="2400"/>
              <a:t>Strukturert innhentelse av risikoer fra alle fakultet har resultert i 177 adresserte risiko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7BB8A6A-54B7-5179-E695-0DE818B53A7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80189" y="2346651"/>
            <a:ext cx="2081990" cy="123359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66FB294-A47E-C82B-FA0C-203603D20A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7200" y="2346651"/>
            <a:ext cx="2343759" cy="122188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369C8952-C51C-2FD7-817A-8BC912C2631B}"/>
              </a:ext>
            </a:extLst>
          </p:cNvPr>
          <p:cNvSpPr/>
          <p:nvPr/>
        </p:nvSpPr>
        <p:spPr>
          <a:xfrm rot="5400000">
            <a:off x="2232752" y="2736209"/>
            <a:ext cx="1815644" cy="302607"/>
          </a:xfrm>
          <a:prstGeom prst="triangl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9" name="Isosceles Triangle 8">
            <a:extLst>
              <a:ext uri="{FF2B5EF4-FFF2-40B4-BE49-F238E27FC236}">
                <a16:creationId xmlns:a16="http://schemas.microsoft.com/office/drawing/2014/main" id="{6535E08E-A8CD-9D22-980E-D241F24D544B}"/>
              </a:ext>
            </a:extLst>
          </p:cNvPr>
          <p:cNvSpPr/>
          <p:nvPr/>
        </p:nvSpPr>
        <p:spPr>
          <a:xfrm rot="5400000">
            <a:off x="5095605" y="2736208"/>
            <a:ext cx="1815644" cy="302607"/>
          </a:xfrm>
          <a:prstGeom prst="triangl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67AD55F-5468-0B03-2234-023783A35D2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76955" y="2346651"/>
            <a:ext cx="2189815" cy="1233595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26789096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2E89A14-DF48-8F38-617C-81664AD2F4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2E89A14-DF48-8F38-617C-81664AD2F4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88CDA1A3-6C21-2F9E-2937-88F080F5C2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343" y="409287"/>
            <a:ext cx="7615382" cy="463846"/>
          </a:xfrm>
        </p:spPr>
        <p:txBody>
          <a:bodyPr vert="horz"/>
          <a:lstStyle/>
          <a:p>
            <a:r>
              <a:rPr lang="nb-NO" sz="2400"/>
              <a:t>Oversikt </a:t>
            </a:r>
            <a:r>
              <a:rPr lang="nb-NO" sz="2400" err="1"/>
              <a:t>hovedrisikoer</a:t>
            </a:r>
            <a:r>
              <a:rPr lang="nb-NO" sz="2400"/>
              <a:t> med forslag til tiltak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1A8AA8B-6639-3A6C-72DE-E9ABB27E7313}"/>
              </a:ext>
            </a:extLst>
          </p:cNvPr>
          <p:cNvSpPr/>
          <p:nvPr/>
        </p:nvSpPr>
        <p:spPr>
          <a:xfrm>
            <a:off x="119243" y="1711055"/>
            <a:ext cx="1107898" cy="12699"/>
          </a:xfrm>
          <a:prstGeom prst="rect">
            <a:avLst/>
          </a:prstGeom>
          <a:solidFill>
            <a:srgbClr val="000000"/>
          </a:solidFill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386FF6B-CED4-3FD0-4C90-6435E3CF62CA}"/>
              </a:ext>
            </a:extLst>
          </p:cNvPr>
          <p:cNvSpPr/>
          <p:nvPr/>
        </p:nvSpPr>
        <p:spPr>
          <a:xfrm>
            <a:off x="1328741" y="1711055"/>
            <a:ext cx="1489842" cy="12699"/>
          </a:xfrm>
          <a:prstGeom prst="rect">
            <a:avLst/>
          </a:prstGeom>
          <a:solidFill>
            <a:srgbClr val="000000"/>
          </a:solidFill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85ABFFF-EC60-53BB-DFC9-77BBC247F588}"/>
              </a:ext>
            </a:extLst>
          </p:cNvPr>
          <p:cNvSpPr/>
          <p:nvPr/>
        </p:nvSpPr>
        <p:spPr>
          <a:xfrm>
            <a:off x="2920183" y="1711055"/>
            <a:ext cx="4002598" cy="12699"/>
          </a:xfrm>
          <a:prstGeom prst="rect">
            <a:avLst/>
          </a:prstGeom>
          <a:solidFill>
            <a:srgbClr val="000000"/>
          </a:solidFill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88EFCFD-F48C-4619-94F7-816EA26DCD7B}"/>
              </a:ext>
            </a:extLst>
          </p:cNvPr>
          <p:cNvSpPr/>
          <p:nvPr/>
        </p:nvSpPr>
        <p:spPr>
          <a:xfrm>
            <a:off x="2920183" y="1892136"/>
            <a:ext cx="4015298" cy="18296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  <a:t>Sentralt: Koble på prosessansvarlig og evt vurdere behov for mer opplæring</a:t>
            </a:r>
          </a:p>
          <a:p>
            <a: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  <a:t>Lokalt: Være tydelig på hvem som innehar de ulike rollene i prosessen og følge opp opplæring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67455B1-3384-5399-6934-904166DB68CA}"/>
              </a:ext>
            </a:extLst>
          </p:cNvPr>
          <p:cNvSpPr/>
          <p:nvPr/>
        </p:nvSpPr>
        <p:spPr>
          <a:xfrm>
            <a:off x="2920183" y="2254994"/>
            <a:ext cx="4015298" cy="26809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  <a:t>Kortsiktig: publisere oversikt på Innsida over hvilke rapporter som bør brukes til hva</a:t>
            </a:r>
            <a:b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</a:br>
            <a: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  <a:t>Langsiktig: BOTT forvalting jobber i samarbeid med DFØ med å få oversikt over rapporter som finnes, når de skal</a:t>
            </a:r>
            <a:b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</a:br>
            <a: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  <a:t>brukes og hvem de er tilgjengelig for (roller)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13062C4-F05D-6E0E-7422-3908AE80A370}"/>
              </a:ext>
            </a:extLst>
          </p:cNvPr>
          <p:cNvSpPr/>
          <p:nvPr/>
        </p:nvSpPr>
        <p:spPr>
          <a:xfrm>
            <a:off x="2920183" y="2660418"/>
            <a:ext cx="4015298" cy="26808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  <a:t>Kortsiktig: Undersøke kapasitet hos DFØ og sentralt i Øk. avd. Har DFØ SLA på scanning av pdf og overholdes</a:t>
            </a:r>
            <a:b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</a:br>
            <a: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  <a:t>denne? Hva er saksbehandlingstiden sentralt og kan denne reduseres? Langsiktig: sjekke om mulig å ta i bruk</a:t>
            </a:r>
            <a:b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</a:br>
            <a: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  <a:t>forsystem for automatisk kontroll/ avvsining av innkomne faktura. BOTT forvalting sjekker mulighet mot DFØ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C63C133-35C9-EDE4-115A-0D2E171A5F47}"/>
              </a:ext>
            </a:extLst>
          </p:cNvPr>
          <p:cNvSpPr/>
          <p:nvPr/>
        </p:nvSpPr>
        <p:spPr>
          <a:xfrm>
            <a:off x="2920183" y="3150970"/>
            <a:ext cx="4015298" cy="9783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  <a:t>Innføring av Preaward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5F6E7DF-356C-BD47-0F61-58786124C2A7}"/>
              </a:ext>
            </a:extLst>
          </p:cNvPr>
          <p:cNvSpPr/>
          <p:nvPr/>
        </p:nvSpPr>
        <p:spPr>
          <a:xfrm>
            <a:off x="2920183" y="3513828"/>
            <a:ext cx="4015298" cy="18296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  <a:t>Innføring av EVU-modell som vil forbedre funksjonalitet mtp oppfølging av BOA økonomi samt de tiltakene som settes</a:t>
            </a:r>
            <a:b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</a:br>
            <a: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  <a:t>igang innen PBO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A7A1623-2451-2ECD-85E9-8B32580211A5}"/>
              </a:ext>
            </a:extLst>
          </p:cNvPr>
          <p:cNvSpPr/>
          <p:nvPr/>
        </p:nvSpPr>
        <p:spPr>
          <a:xfrm>
            <a:off x="2920183" y="3919252"/>
            <a:ext cx="4015298" cy="18295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  <a:t>Tydeliggjøre hvilke rapporter som er tilgjengelig, hvor de er tilgjengelig og hva de kan brukes til + evt utvikle nye</a:t>
            </a:r>
            <a:b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</a:br>
            <a: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  <a:t>rapporter hvor det er mangelvare. Prosessrådgivere bør drive denne prosessen gjennom erfaringsutveksling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FD0E6D7-652A-5C06-CA49-72589E674394}"/>
              </a:ext>
            </a:extLst>
          </p:cNvPr>
          <p:cNvSpPr/>
          <p:nvPr/>
        </p:nvSpPr>
        <p:spPr>
          <a:xfrm>
            <a:off x="2920183" y="4367240"/>
            <a:ext cx="4015298" cy="9782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  <a:t>Må utdypes per prosess. Endringer må tas gjennom BOTT forvaltning og strategisk partnerskap til DFØ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F8E66EC-CF9A-FFBB-6852-6EB7906AAA9D}"/>
              </a:ext>
            </a:extLst>
          </p:cNvPr>
          <p:cNvSpPr/>
          <p:nvPr/>
        </p:nvSpPr>
        <p:spPr>
          <a:xfrm>
            <a:off x="2920183" y="4772663"/>
            <a:ext cx="4015298" cy="9783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  <a:t>Må sees på i sammenheng med arbeidet som settes i gang med BDM struktur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0AE647E-8EFB-C375-6CD0-2371BE9D4E6F}"/>
              </a:ext>
            </a:extLst>
          </p:cNvPr>
          <p:cNvSpPr/>
          <p:nvPr/>
        </p:nvSpPr>
        <p:spPr>
          <a:xfrm>
            <a:off x="7024381" y="1934701"/>
            <a:ext cx="621344" cy="9783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  <a:t>Q2 / Q3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23D5729-664A-6470-9826-F45EF3191734}"/>
              </a:ext>
            </a:extLst>
          </p:cNvPr>
          <p:cNvSpPr/>
          <p:nvPr/>
        </p:nvSpPr>
        <p:spPr>
          <a:xfrm>
            <a:off x="7024381" y="2297559"/>
            <a:ext cx="621344" cy="18296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  <a:t>Q2 / Må avklares</a:t>
            </a:r>
            <a:b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</a:br>
            <a: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  <a:t>med DFØ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FC1C223-8701-36C1-A6AA-2666441CCF88}"/>
              </a:ext>
            </a:extLst>
          </p:cNvPr>
          <p:cNvSpPr/>
          <p:nvPr/>
        </p:nvSpPr>
        <p:spPr>
          <a:xfrm>
            <a:off x="7024381" y="2702982"/>
            <a:ext cx="621344" cy="18296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  <a:t>Må avklares med</a:t>
            </a:r>
            <a:b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</a:br>
            <a: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  <a:t>DFØ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5795EE0-08BC-F4DE-56E4-CCE6611E1509}"/>
              </a:ext>
            </a:extLst>
          </p:cNvPr>
          <p:cNvSpPr/>
          <p:nvPr/>
        </p:nvSpPr>
        <p:spPr>
          <a:xfrm>
            <a:off x="7024381" y="3150970"/>
            <a:ext cx="621344" cy="9783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  <a:t>Q2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0527984-D775-8B25-06F3-21648ECDC20A}"/>
              </a:ext>
            </a:extLst>
          </p:cNvPr>
          <p:cNvSpPr/>
          <p:nvPr/>
        </p:nvSpPr>
        <p:spPr>
          <a:xfrm>
            <a:off x="7024381" y="3556393"/>
            <a:ext cx="621344" cy="9783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  <a:t>Q3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E8B2825-8D2B-5341-129F-BCC0FDC8865B}"/>
              </a:ext>
            </a:extLst>
          </p:cNvPr>
          <p:cNvSpPr/>
          <p:nvPr/>
        </p:nvSpPr>
        <p:spPr>
          <a:xfrm>
            <a:off x="7024381" y="3961817"/>
            <a:ext cx="621344" cy="9782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  <a:t>Q2 / Q3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8650B0C-D56A-713C-AC4E-CEA1312F523E}"/>
              </a:ext>
            </a:extLst>
          </p:cNvPr>
          <p:cNvSpPr/>
          <p:nvPr/>
        </p:nvSpPr>
        <p:spPr>
          <a:xfrm>
            <a:off x="7024381" y="4324675"/>
            <a:ext cx="621344" cy="18295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  <a:t>Må avklares med</a:t>
            </a:r>
            <a:b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</a:br>
            <a: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  <a:t>DFØ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DF069F5-ABBC-F246-8BF8-31C3072F54EC}"/>
              </a:ext>
            </a:extLst>
          </p:cNvPr>
          <p:cNvSpPr/>
          <p:nvPr/>
        </p:nvSpPr>
        <p:spPr>
          <a:xfrm>
            <a:off x="7024381" y="4772663"/>
            <a:ext cx="621344" cy="9783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  <a:t>Q2 / Q3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66FEF38-4BCC-EBD9-B434-DF5833D88AD4}"/>
              </a:ext>
            </a:extLst>
          </p:cNvPr>
          <p:cNvSpPr/>
          <p:nvPr/>
        </p:nvSpPr>
        <p:spPr>
          <a:xfrm>
            <a:off x="1328741" y="1825354"/>
            <a:ext cx="1489842" cy="303824"/>
          </a:xfrm>
          <a:prstGeom prst="rect">
            <a:avLst/>
          </a:prstGeom>
          <a:solidFill>
            <a:srgbClr val="B6C8E9"/>
          </a:solidFill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5FC77CB-47E4-BD70-2151-69D589993F73}"/>
              </a:ext>
            </a:extLst>
          </p:cNvPr>
          <p:cNvSpPr/>
          <p:nvPr/>
        </p:nvSpPr>
        <p:spPr>
          <a:xfrm>
            <a:off x="1328741" y="2230778"/>
            <a:ext cx="1489842" cy="303823"/>
          </a:xfrm>
          <a:prstGeom prst="rect">
            <a:avLst/>
          </a:prstGeom>
          <a:solidFill>
            <a:srgbClr val="B6C8E9"/>
          </a:solidFill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7A1F6B0-6E16-DF72-2338-D1CDE46B17AF}"/>
              </a:ext>
            </a:extLst>
          </p:cNvPr>
          <p:cNvSpPr/>
          <p:nvPr/>
        </p:nvSpPr>
        <p:spPr>
          <a:xfrm>
            <a:off x="1328741" y="2636201"/>
            <a:ext cx="1489842" cy="303823"/>
          </a:xfrm>
          <a:prstGeom prst="rect">
            <a:avLst/>
          </a:prstGeom>
          <a:solidFill>
            <a:srgbClr val="B6C8E9"/>
          </a:solidFill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9C4D08A-7C46-0D1A-CD41-B13E77A01931}"/>
              </a:ext>
            </a:extLst>
          </p:cNvPr>
          <p:cNvSpPr/>
          <p:nvPr/>
        </p:nvSpPr>
        <p:spPr>
          <a:xfrm>
            <a:off x="1328741" y="3041624"/>
            <a:ext cx="1489842" cy="303823"/>
          </a:xfrm>
          <a:prstGeom prst="rect">
            <a:avLst/>
          </a:prstGeom>
          <a:solidFill>
            <a:srgbClr val="B6C8E9"/>
          </a:solidFill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E7EA211-E4DC-3EA3-D79F-B7D9997C773C}"/>
              </a:ext>
            </a:extLst>
          </p:cNvPr>
          <p:cNvSpPr/>
          <p:nvPr/>
        </p:nvSpPr>
        <p:spPr>
          <a:xfrm>
            <a:off x="1328741" y="3447047"/>
            <a:ext cx="1489842" cy="303823"/>
          </a:xfrm>
          <a:prstGeom prst="rect">
            <a:avLst/>
          </a:prstGeom>
          <a:solidFill>
            <a:srgbClr val="B6C8E9"/>
          </a:solidFill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D4AFC64-EBAE-489D-7772-58C104A589DA}"/>
              </a:ext>
            </a:extLst>
          </p:cNvPr>
          <p:cNvSpPr/>
          <p:nvPr/>
        </p:nvSpPr>
        <p:spPr>
          <a:xfrm>
            <a:off x="1328741" y="3852470"/>
            <a:ext cx="1489842" cy="303823"/>
          </a:xfrm>
          <a:prstGeom prst="rect">
            <a:avLst/>
          </a:prstGeom>
          <a:solidFill>
            <a:srgbClr val="B6C8E9"/>
          </a:solidFill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E5FD35C-ACE8-D3F4-775F-F5C28B9F22DC}"/>
              </a:ext>
            </a:extLst>
          </p:cNvPr>
          <p:cNvSpPr/>
          <p:nvPr/>
        </p:nvSpPr>
        <p:spPr>
          <a:xfrm>
            <a:off x="1328741" y="4257893"/>
            <a:ext cx="1489842" cy="303823"/>
          </a:xfrm>
          <a:prstGeom prst="rect">
            <a:avLst/>
          </a:prstGeom>
          <a:solidFill>
            <a:srgbClr val="B6C8E9"/>
          </a:solidFill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6CB6086-9CA2-AA3D-082C-AFA9E39B0398}"/>
              </a:ext>
            </a:extLst>
          </p:cNvPr>
          <p:cNvSpPr/>
          <p:nvPr/>
        </p:nvSpPr>
        <p:spPr>
          <a:xfrm>
            <a:off x="1328741" y="4663316"/>
            <a:ext cx="1489842" cy="303823"/>
          </a:xfrm>
          <a:prstGeom prst="rect">
            <a:avLst/>
          </a:prstGeom>
          <a:solidFill>
            <a:srgbClr val="B6C8E9"/>
          </a:solidFill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3D879AE5-9518-48EA-8930-16815829C11A}"/>
              </a:ext>
            </a:extLst>
          </p:cNvPr>
          <p:cNvSpPr/>
          <p:nvPr/>
        </p:nvSpPr>
        <p:spPr>
          <a:xfrm>
            <a:off x="119243" y="1825354"/>
            <a:ext cx="1107898" cy="303824"/>
          </a:xfrm>
          <a:prstGeom prst="rect">
            <a:avLst/>
          </a:prstGeom>
          <a:solidFill>
            <a:srgbClr val="014693"/>
          </a:solidFill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06D951B-4EAB-77F5-50AE-7B6A69CBC369}"/>
              </a:ext>
            </a:extLst>
          </p:cNvPr>
          <p:cNvSpPr/>
          <p:nvPr/>
        </p:nvSpPr>
        <p:spPr>
          <a:xfrm>
            <a:off x="119243" y="2230778"/>
            <a:ext cx="1107898" cy="709246"/>
          </a:xfrm>
          <a:prstGeom prst="rect">
            <a:avLst/>
          </a:prstGeom>
          <a:solidFill>
            <a:srgbClr val="014693"/>
          </a:solidFill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9E0C057C-55AA-0FDD-64F4-736601847E0D}"/>
              </a:ext>
            </a:extLst>
          </p:cNvPr>
          <p:cNvSpPr/>
          <p:nvPr/>
        </p:nvSpPr>
        <p:spPr>
          <a:xfrm>
            <a:off x="119243" y="3041624"/>
            <a:ext cx="1107898" cy="1114669"/>
          </a:xfrm>
          <a:prstGeom prst="rect">
            <a:avLst/>
          </a:prstGeom>
          <a:solidFill>
            <a:srgbClr val="014693"/>
          </a:solidFill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7522A54-CE37-AAA3-6C5A-7E586C0036DB}"/>
              </a:ext>
            </a:extLst>
          </p:cNvPr>
          <p:cNvSpPr/>
          <p:nvPr/>
        </p:nvSpPr>
        <p:spPr>
          <a:xfrm>
            <a:off x="119243" y="4257893"/>
            <a:ext cx="1107898" cy="709246"/>
          </a:xfrm>
          <a:prstGeom prst="rect">
            <a:avLst/>
          </a:prstGeom>
          <a:solidFill>
            <a:srgbClr val="014693"/>
          </a:solidFill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ECE11A2-8701-0E61-BF57-870F3EA8B974}"/>
              </a:ext>
            </a:extLst>
          </p:cNvPr>
          <p:cNvSpPr/>
          <p:nvPr/>
        </p:nvSpPr>
        <p:spPr>
          <a:xfrm>
            <a:off x="119243" y="1474664"/>
            <a:ext cx="1120598" cy="15458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000">
                <a:solidFill>
                  <a:srgbClr val="000000"/>
                </a:solidFill>
                <a:latin typeface="Arial" panose="020B0604020202020204" pitchFamily="34" charset="0"/>
              </a:rPr>
              <a:t>Prosessområde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45F4C74-4E4F-784F-1040-FCF7F6ED2CEA}"/>
              </a:ext>
            </a:extLst>
          </p:cNvPr>
          <p:cNvSpPr/>
          <p:nvPr/>
        </p:nvSpPr>
        <p:spPr>
          <a:xfrm>
            <a:off x="1328741" y="1474664"/>
            <a:ext cx="1502542" cy="15458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000">
                <a:solidFill>
                  <a:srgbClr val="000000"/>
                </a:solidFill>
                <a:latin typeface="Arial" panose="020B0604020202020204" pitchFamily="34" charset="0"/>
              </a:rPr>
              <a:t>Overordnet risiko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16795086-C6D0-644D-FCFB-63037CE6C9EB}"/>
              </a:ext>
            </a:extLst>
          </p:cNvPr>
          <p:cNvSpPr/>
          <p:nvPr/>
        </p:nvSpPr>
        <p:spPr>
          <a:xfrm>
            <a:off x="2920183" y="1474664"/>
            <a:ext cx="4015298" cy="15458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000">
                <a:solidFill>
                  <a:srgbClr val="000000"/>
                </a:solidFill>
                <a:latin typeface="Arial" panose="020B0604020202020204" pitchFamily="34" charset="0"/>
              </a:rPr>
              <a:t>Forslag til overordnet tiltak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2D775A7F-A5A7-2FE4-CA40-DC0B9A4A5BCD}"/>
              </a:ext>
            </a:extLst>
          </p:cNvPr>
          <p:cNvSpPr/>
          <p:nvPr/>
        </p:nvSpPr>
        <p:spPr>
          <a:xfrm>
            <a:off x="7024381" y="1474664"/>
            <a:ext cx="621344" cy="15458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000">
                <a:solidFill>
                  <a:srgbClr val="000000"/>
                </a:solidFill>
                <a:latin typeface="Arial" panose="020B0604020202020204" pitchFamily="34" charset="0"/>
              </a:rPr>
              <a:t>Når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8AA93F02-1C5A-4880-2834-0CC89F95160C}"/>
              </a:ext>
            </a:extLst>
          </p:cNvPr>
          <p:cNvSpPr/>
          <p:nvPr/>
        </p:nvSpPr>
        <p:spPr>
          <a:xfrm>
            <a:off x="1379541" y="1877948"/>
            <a:ext cx="1400942" cy="21133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700">
                <a:solidFill>
                  <a:srgbClr val="000000"/>
                </a:solidFill>
                <a:latin typeface="Arial" panose="020B0604020202020204" pitchFamily="34" charset="0"/>
              </a:rPr>
              <a:t>Utfordringer i prosessflyt lokalt og</a:t>
            </a:r>
            <a:br>
              <a:rPr lang="nb-NO" sz="700">
                <a:solidFill>
                  <a:srgbClr val="000000"/>
                </a:solidFill>
                <a:latin typeface="Arial" panose="020B0604020202020204" pitchFamily="34" charset="0"/>
              </a:rPr>
            </a:br>
            <a:r>
              <a:rPr lang="nb-NO" sz="700">
                <a:solidFill>
                  <a:srgbClr val="000000"/>
                </a:solidFill>
                <a:latin typeface="Arial" panose="020B0604020202020204" pitchFamily="34" charset="0"/>
              </a:rPr>
              <a:t>sentralt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02D1C5BA-5CF1-5477-72E7-691563533371}"/>
              </a:ext>
            </a:extLst>
          </p:cNvPr>
          <p:cNvSpPr/>
          <p:nvPr/>
        </p:nvSpPr>
        <p:spPr>
          <a:xfrm>
            <a:off x="1379541" y="2333030"/>
            <a:ext cx="1400942" cy="11201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700">
                <a:solidFill>
                  <a:srgbClr val="000000"/>
                </a:solidFill>
                <a:latin typeface="Arial" panose="020B0604020202020204" pitchFamily="34" charset="0"/>
              </a:rPr>
              <a:t>Manglende rapporter/ oversikt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745E4BC8-5F3E-86A5-3DB6-58ACF6EC37B0}"/>
              </a:ext>
            </a:extLst>
          </p:cNvPr>
          <p:cNvSpPr/>
          <p:nvPr/>
        </p:nvSpPr>
        <p:spPr>
          <a:xfrm>
            <a:off x="1379541" y="2688794"/>
            <a:ext cx="1400942" cy="21133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700">
                <a:solidFill>
                  <a:srgbClr val="000000"/>
                </a:solidFill>
                <a:latin typeface="Arial" panose="020B0604020202020204" pitchFamily="34" charset="0"/>
              </a:rPr>
              <a:t>Utfordringer i prosessflyt lokalt og</a:t>
            </a:r>
            <a:br>
              <a:rPr lang="nb-NO" sz="700">
                <a:solidFill>
                  <a:srgbClr val="000000"/>
                </a:solidFill>
                <a:latin typeface="Arial" panose="020B0604020202020204" pitchFamily="34" charset="0"/>
              </a:rPr>
            </a:br>
            <a:r>
              <a:rPr lang="nb-NO" sz="700">
                <a:solidFill>
                  <a:srgbClr val="000000"/>
                </a:solidFill>
                <a:latin typeface="Arial" panose="020B0604020202020204" pitchFamily="34" charset="0"/>
              </a:rPr>
              <a:t>sentralt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8C7BE107-6F9F-6FD2-31C9-E7F47B4C1843}"/>
              </a:ext>
            </a:extLst>
          </p:cNvPr>
          <p:cNvSpPr/>
          <p:nvPr/>
        </p:nvSpPr>
        <p:spPr>
          <a:xfrm>
            <a:off x="1379541" y="3094217"/>
            <a:ext cx="1400942" cy="21133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700">
                <a:solidFill>
                  <a:srgbClr val="000000"/>
                </a:solidFill>
                <a:latin typeface="Arial" panose="020B0604020202020204" pitchFamily="34" charset="0"/>
              </a:rPr>
              <a:t>Arbeidskrevende budsjettering i</a:t>
            </a:r>
            <a:br>
              <a:rPr lang="nb-NO" sz="700">
                <a:solidFill>
                  <a:srgbClr val="000000"/>
                </a:solidFill>
                <a:latin typeface="Arial" panose="020B0604020202020204" pitchFamily="34" charset="0"/>
              </a:rPr>
            </a:br>
            <a:r>
              <a:rPr lang="nb-NO" sz="700">
                <a:solidFill>
                  <a:srgbClr val="000000"/>
                </a:solidFill>
                <a:latin typeface="Arial" panose="020B0604020202020204" pitchFamily="34" charset="0"/>
              </a:rPr>
              <a:t>nytt system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6A9A8BBC-7CFD-ACB7-B228-A0437E3DD912}"/>
              </a:ext>
            </a:extLst>
          </p:cNvPr>
          <p:cNvSpPr/>
          <p:nvPr/>
        </p:nvSpPr>
        <p:spPr>
          <a:xfrm>
            <a:off x="1379541" y="3499640"/>
            <a:ext cx="1400942" cy="21133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700">
                <a:solidFill>
                  <a:srgbClr val="000000"/>
                </a:solidFill>
                <a:latin typeface="Arial" panose="020B0604020202020204" pitchFamily="34" charset="0"/>
              </a:rPr>
              <a:t>Mangelfulle muligheter for</a:t>
            </a:r>
            <a:br>
              <a:rPr lang="nb-NO" sz="700">
                <a:solidFill>
                  <a:srgbClr val="000000"/>
                </a:solidFill>
                <a:latin typeface="Arial" panose="020B0604020202020204" pitchFamily="34" charset="0"/>
              </a:rPr>
            </a:br>
            <a:r>
              <a:rPr lang="nb-NO" sz="700">
                <a:solidFill>
                  <a:srgbClr val="000000"/>
                </a:solidFill>
                <a:latin typeface="Arial" panose="020B0604020202020204" pitchFamily="34" charset="0"/>
              </a:rPr>
              <a:t>oppfølging av økonomi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CDF9F543-C73E-5FD0-2D8D-3D356D772EC8}"/>
              </a:ext>
            </a:extLst>
          </p:cNvPr>
          <p:cNvSpPr/>
          <p:nvPr/>
        </p:nvSpPr>
        <p:spPr>
          <a:xfrm>
            <a:off x="1379541" y="3905064"/>
            <a:ext cx="1400942" cy="21133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700">
                <a:solidFill>
                  <a:srgbClr val="000000"/>
                </a:solidFill>
                <a:latin typeface="Arial" panose="020B0604020202020204" pitchFamily="34" charset="0"/>
              </a:rPr>
              <a:t>Utfordringer knyttet til rapporter i </a:t>
            </a:r>
            <a:br>
              <a:rPr lang="nb-NO" sz="700">
                <a:solidFill>
                  <a:srgbClr val="000000"/>
                </a:solidFill>
                <a:latin typeface="Arial" panose="020B0604020202020204" pitchFamily="34" charset="0"/>
              </a:rPr>
            </a:br>
            <a:r>
              <a:rPr lang="nb-NO" sz="700">
                <a:solidFill>
                  <a:srgbClr val="000000"/>
                </a:solidFill>
                <a:latin typeface="Arial" panose="020B0604020202020204" pitchFamily="34" charset="0"/>
              </a:rPr>
              <a:t>Unit 4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6F4AB083-2845-0198-BC93-67A3F34293D4}"/>
              </a:ext>
            </a:extLst>
          </p:cNvPr>
          <p:cNvSpPr/>
          <p:nvPr/>
        </p:nvSpPr>
        <p:spPr>
          <a:xfrm>
            <a:off x="1379541" y="4310486"/>
            <a:ext cx="1400942" cy="21133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700">
                <a:solidFill>
                  <a:srgbClr val="000000"/>
                </a:solidFill>
                <a:latin typeface="Arial" panose="020B0604020202020204" pitchFamily="34" charset="0"/>
              </a:rPr>
              <a:t>Utfordringer knyttet til</a:t>
            </a:r>
            <a:br>
              <a:rPr lang="nb-NO" sz="700">
                <a:solidFill>
                  <a:srgbClr val="000000"/>
                </a:solidFill>
                <a:latin typeface="Arial" panose="020B0604020202020204" pitchFamily="34" charset="0"/>
              </a:rPr>
            </a:br>
            <a:r>
              <a:rPr lang="nb-NO" sz="700">
                <a:solidFill>
                  <a:srgbClr val="000000"/>
                </a:solidFill>
                <a:latin typeface="Arial" panose="020B0604020202020204" pitchFamily="34" charset="0"/>
              </a:rPr>
              <a:t>funksjonalitet i Unit 4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95D589A-C28E-DD69-A742-57726E0B27CA}"/>
              </a:ext>
            </a:extLst>
          </p:cNvPr>
          <p:cNvSpPr/>
          <p:nvPr/>
        </p:nvSpPr>
        <p:spPr>
          <a:xfrm>
            <a:off x="1379541" y="4765569"/>
            <a:ext cx="1400942" cy="11201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700">
                <a:solidFill>
                  <a:srgbClr val="000000"/>
                </a:solidFill>
                <a:latin typeface="Arial" panose="020B0604020202020204" pitchFamily="34" charset="0"/>
              </a:rPr>
              <a:t>Manglende oversikt over roller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13CC099C-38CC-C53F-58D1-C92B27BDC468}"/>
              </a:ext>
            </a:extLst>
          </p:cNvPr>
          <p:cNvSpPr/>
          <p:nvPr/>
        </p:nvSpPr>
        <p:spPr>
          <a:xfrm>
            <a:off x="170043" y="1899231"/>
            <a:ext cx="1018998" cy="16877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100">
                <a:solidFill>
                  <a:srgbClr val="FFFFFF"/>
                </a:solidFill>
                <a:latin typeface="Arial" panose="020B0604020202020204" pitchFamily="34" charset="0"/>
              </a:rPr>
              <a:t>FTI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28C9DDD8-7710-3FB4-6B33-6E3FC89E0769}"/>
              </a:ext>
            </a:extLst>
          </p:cNvPr>
          <p:cNvSpPr/>
          <p:nvPr/>
        </p:nvSpPr>
        <p:spPr>
          <a:xfrm>
            <a:off x="170043" y="2507365"/>
            <a:ext cx="1018998" cy="16877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100">
                <a:solidFill>
                  <a:srgbClr val="FFFFFF"/>
                </a:solidFill>
                <a:latin typeface="Arial" panose="020B0604020202020204" pitchFamily="34" charset="0"/>
              </a:rPr>
              <a:t>BtB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728E6CBD-9D63-4B18-B747-85B5770F3702}"/>
              </a:ext>
            </a:extLst>
          </p:cNvPr>
          <p:cNvSpPr/>
          <p:nvPr/>
        </p:nvSpPr>
        <p:spPr>
          <a:xfrm>
            <a:off x="170043" y="3520923"/>
            <a:ext cx="1018998" cy="16877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100">
                <a:solidFill>
                  <a:srgbClr val="FFFFFF"/>
                </a:solidFill>
                <a:latin typeface="Arial" panose="020B0604020202020204" pitchFamily="34" charset="0"/>
              </a:rPr>
              <a:t>PØ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3EABE6D3-34B9-16AB-4640-908D0718254E}"/>
              </a:ext>
            </a:extLst>
          </p:cNvPr>
          <p:cNvSpPr/>
          <p:nvPr/>
        </p:nvSpPr>
        <p:spPr>
          <a:xfrm>
            <a:off x="170043" y="4534481"/>
            <a:ext cx="1018998" cy="16877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100">
                <a:solidFill>
                  <a:srgbClr val="FFFFFF"/>
                </a:solidFill>
                <a:latin typeface="Arial" panose="020B0604020202020204" pitchFamily="34" charset="0"/>
              </a:rPr>
              <a:t>Felle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4AECB510-B58D-F53A-94FB-A23C37C1C783}"/>
              </a:ext>
            </a:extLst>
          </p:cNvPr>
          <p:cNvGrpSpPr/>
          <p:nvPr/>
        </p:nvGrpSpPr>
        <p:grpSpPr>
          <a:xfrm>
            <a:off x="5394472" y="53221"/>
            <a:ext cx="3468915" cy="241048"/>
            <a:chOff x="735389" y="1814286"/>
            <a:chExt cx="4634895" cy="295124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B042356E-2E68-15D8-CE14-3324E5DA7054}"/>
                </a:ext>
              </a:extLst>
            </p:cNvPr>
            <p:cNvSpPr/>
            <p:nvPr/>
          </p:nvSpPr>
          <p:spPr>
            <a:xfrm>
              <a:off x="735389" y="1814286"/>
              <a:ext cx="1129429" cy="295124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600">
                  <a:solidFill>
                    <a:schemeClr val="tx1"/>
                  </a:solidFill>
                </a:rPr>
                <a:t>Økonomi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B503B56A-B325-0B72-A943-008F17615A43}"/>
                </a:ext>
              </a:extLst>
            </p:cNvPr>
            <p:cNvSpPr/>
            <p:nvPr/>
          </p:nvSpPr>
          <p:spPr>
            <a:xfrm>
              <a:off x="1903878" y="1814286"/>
              <a:ext cx="1129429" cy="295124"/>
            </a:xfrm>
            <a:prstGeom prst="rect">
              <a:avLst/>
            </a:prstGeom>
            <a:noFill/>
            <a:ln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600">
                  <a:solidFill>
                    <a:schemeClr val="tx1"/>
                  </a:solidFill>
                </a:rPr>
                <a:t>Virksomhetsstyring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EBDC1C7-FB34-6117-8F4B-85ACCB86BEFC}"/>
                </a:ext>
              </a:extLst>
            </p:cNvPr>
            <p:cNvSpPr/>
            <p:nvPr/>
          </p:nvSpPr>
          <p:spPr>
            <a:xfrm>
              <a:off x="3072367" y="1814286"/>
              <a:ext cx="1129429" cy="295124"/>
            </a:xfrm>
            <a:prstGeom prst="rect">
              <a:avLst/>
            </a:prstGeom>
            <a:noFill/>
            <a:ln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600">
                  <a:solidFill>
                    <a:schemeClr val="tx1"/>
                  </a:solidFill>
                </a:rPr>
                <a:t>HR /Tjenestesenter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397ED44-32C6-D58E-1109-916789B43C06}"/>
                </a:ext>
              </a:extLst>
            </p:cNvPr>
            <p:cNvSpPr/>
            <p:nvPr/>
          </p:nvSpPr>
          <p:spPr>
            <a:xfrm>
              <a:off x="4240855" y="1814286"/>
              <a:ext cx="1129429" cy="295124"/>
            </a:xfrm>
            <a:prstGeom prst="rect">
              <a:avLst/>
            </a:prstGeom>
            <a:noFill/>
            <a:ln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600">
                  <a:solidFill>
                    <a:schemeClr val="tx1"/>
                  </a:solidFill>
                </a:rPr>
                <a:t>Felles</a:t>
              </a:r>
            </a:p>
          </p:txBody>
        </p:sp>
      </p:grpSp>
      <p:sp>
        <p:nvSpPr>
          <p:cNvPr id="59" name="Rectangle 20">
            <a:extLst>
              <a:ext uri="{FF2B5EF4-FFF2-40B4-BE49-F238E27FC236}">
                <a16:creationId xmlns:a16="http://schemas.microsoft.com/office/drawing/2014/main" id="{33A566D3-F8CF-B6C6-DF4C-E1E722B461F4}"/>
              </a:ext>
            </a:extLst>
          </p:cNvPr>
          <p:cNvSpPr/>
          <p:nvPr/>
        </p:nvSpPr>
        <p:spPr>
          <a:xfrm>
            <a:off x="7815259" y="1713828"/>
            <a:ext cx="608644" cy="12699"/>
          </a:xfrm>
          <a:prstGeom prst="rect">
            <a:avLst/>
          </a:prstGeom>
          <a:solidFill>
            <a:srgbClr val="000000"/>
          </a:solidFill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solidFill>
                <a:srgbClr val="0C4789"/>
              </a:solidFill>
            </a:endParaRPr>
          </a:p>
        </p:txBody>
      </p:sp>
      <p:sp>
        <p:nvSpPr>
          <p:cNvPr id="60" name="Rectangle 44">
            <a:extLst>
              <a:ext uri="{FF2B5EF4-FFF2-40B4-BE49-F238E27FC236}">
                <a16:creationId xmlns:a16="http://schemas.microsoft.com/office/drawing/2014/main" id="{27EFB5AF-0EBA-F6A2-9A00-F6F557D7197B}"/>
              </a:ext>
            </a:extLst>
          </p:cNvPr>
          <p:cNvSpPr/>
          <p:nvPr/>
        </p:nvSpPr>
        <p:spPr>
          <a:xfrm>
            <a:off x="7678179" y="1474664"/>
            <a:ext cx="621344" cy="15458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000">
                <a:solidFill>
                  <a:srgbClr val="0C4789"/>
                </a:solidFill>
                <a:latin typeface="Arial" panose="020B0604020202020204" pitchFamily="34" charset="0"/>
              </a:rPr>
              <a:t>Status</a:t>
            </a:r>
          </a:p>
        </p:txBody>
      </p:sp>
      <p:sp>
        <p:nvSpPr>
          <p:cNvPr id="61" name="Rectangle 20">
            <a:extLst>
              <a:ext uri="{FF2B5EF4-FFF2-40B4-BE49-F238E27FC236}">
                <a16:creationId xmlns:a16="http://schemas.microsoft.com/office/drawing/2014/main" id="{049B6A5C-2CF1-2D43-4935-31D8EBB0B2D4}"/>
              </a:ext>
            </a:extLst>
          </p:cNvPr>
          <p:cNvSpPr/>
          <p:nvPr/>
        </p:nvSpPr>
        <p:spPr>
          <a:xfrm>
            <a:off x="7077755" y="1707033"/>
            <a:ext cx="608644" cy="12699"/>
          </a:xfrm>
          <a:prstGeom prst="rect">
            <a:avLst/>
          </a:prstGeom>
          <a:solidFill>
            <a:srgbClr val="000000"/>
          </a:solidFill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62" name="Rectangle 17">
            <a:extLst>
              <a:ext uri="{FF2B5EF4-FFF2-40B4-BE49-F238E27FC236}">
                <a16:creationId xmlns:a16="http://schemas.microsoft.com/office/drawing/2014/main" id="{F70B9F86-8779-560C-44DF-07AA6945A1E9}"/>
              </a:ext>
            </a:extLst>
          </p:cNvPr>
          <p:cNvSpPr/>
          <p:nvPr/>
        </p:nvSpPr>
        <p:spPr>
          <a:xfrm>
            <a:off x="7734625" y="1837061"/>
            <a:ext cx="1071080" cy="41345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600">
                <a:solidFill>
                  <a:srgbClr val="0C4789"/>
                </a:solidFill>
                <a:latin typeface="Arial"/>
                <a:cs typeface="Arial"/>
              </a:rPr>
              <a:t>Kurs for salgordreopprettere og fakturabehandlere planlagt 25.10</a:t>
            </a:r>
            <a:endParaRPr lang="nb-NO" sz="600">
              <a:solidFill>
                <a:srgbClr val="0C4789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63" name="Rectangle 17">
            <a:extLst>
              <a:ext uri="{FF2B5EF4-FFF2-40B4-BE49-F238E27FC236}">
                <a16:creationId xmlns:a16="http://schemas.microsoft.com/office/drawing/2014/main" id="{718AA5A2-C30F-B1D4-92BF-C311C2D18684}"/>
              </a:ext>
            </a:extLst>
          </p:cNvPr>
          <p:cNvSpPr/>
          <p:nvPr/>
        </p:nvSpPr>
        <p:spPr>
          <a:xfrm>
            <a:off x="7734625" y="2289530"/>
            <a:ext cx="1071080" cy="18296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600">
                <a:solidFill>
                  <a:srgbClr val="0C4789"/>
                </a:solidFill>
                <a:latin typeface="Arial" panose="020B0604020202020204" pitchFamily="34" charset="0"/>
              </a:rPr>
              <a:t>Arbeid pågår. Noen endringer gjennomført</a:t>
            </a:r>
          </a:p>
        </p:txBody>
      </p:sp>
      <p:sp>
        <p:nvSpPr>
          <p:cNvPr id="64" name="Rectangle 17">
            <a:extLst>
              <a:ext uri="{FF2B5EF4-FFF2-40B4-BE49-F238E27FC236}">
                <a16:creationId xmlns:a16="http://schemas.microsoft.com/office/drawing/2014/main" id="{9AA94B92-CF4E-F9AA-A511-6534185A666B}"/>
              </a:ext>
            </a:extLst>
          </p:cNvPr>
          <p:cNvSpPr/>
          <p:nvPr/>
        </p:nvSpPr>
        <p:spPr>
          <a:xfrm>
            <a:off x="7734625" y="2660417"/>
            <a:ext cx="1313039" cy="43379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600">
                <a:solidFill>
                  <a:srgbClr val="0C4789"/>
                </a:solidFill>
                <a:latin typeface="Arial" panose="020B0604020202020204" pitchFamily="34" charset="0"/>
              </a:rPr>
              <a:t>Kort sikt: Kapasitet i </a:t>
            </a:r>
            <a:r>
              <a:rPr lang="nb-NO" sz="600" err="1">
                <a:solidFill>
                  <a:srgbClr val="0C4789"/>
                </a:solidFill>
                <a:latin typeface="Arial" panose="020B0604020202020204" pitchFamily="34" charset="0"/>
              </a:rPr>
              <a:t>øk.avd</a:t>
            </a:r>
            <a:r>
              <a:rPr lang="nb-NO" sz="600">
                <a:solidFill>
                  <a:srgbClr val="0C4789"/>
                </a:solidFill>
                <a:latin typeface="Arial" panose="020B0604020202020204" pitchFamily="34" charset="0"/>
              </a:rPr>
              <a:t> økt. </a:t>
            </a:r>
          </a:p>
          <a:p>
            <a:r>
              <a:rPr lang="nb-NO" sz="600">
                <a:solidFill>
                  <a:srgbClr val="0C4789"/>
                </a:solidFill>
                <a:latin typeface="Arial" panose="020B0604020202020204" pitchFamily="34" charset="0"/>
              </a:rPr>
              <a:t>Langsiktig løsning under vurdering sammen med </a:t>
            </a:r>
            <a:r>
              <a:rPr lang="nb-NO" sz="600" err="1">
                <a:solidFill>
                  <a:srgbClr val="0C4789"/>
                </a:solidFill>
                <a:latin typeface="Arial" panose="020B0604020202020204" pitchFamily="34" charset="0"/>
              </a:rPr>
              <a:t>DFØs</a:t>
            </a:r>
            <a:r>
              <a:rPr lang="nb-NO" sz="600">
                <a:solidFill>
                  <a:srgbClr val="0C4789"/>
                </a:solidFill>
                <a:latin typeface="Arial" panose="020B0604020202020204" pitchFamily="34" charset="0"/>
              </a:rPr>
              <a:t> strategiske partnere</a:t>
            </a:r>
          </a:p>
        </p:txBody>
      </p:sp>
      <p:sp>
        <p:nvSpPr>
          <p:cNvPr id="65" name="Rectangle 17">
            <a:extLst>
              <a:ext uri="{FF2B5EF4-FFF2-40B4-BE49-F238E27FC236}">
                <a16:creationId xmlns:a16="http://schemas.microsoft.com/office/drawing/2014/main" id="{920809DC-627A-30FC-2917-9DADE29728E5}"/>
              </a:ext>
            </a:extLst>
          </p:cNvPr>
          <p:cNvSpPr/>
          <p:nvPr/>
        </p:nvSpPr>
        <p:spPr>
          <a:xfrm>
            <a:off x="7734625" y="3160626"/>
            <a:ext cx="1071080" cy="41345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600">
                <a:solidFill>
                  <a:srgbClr val="0C4789"/>
                </a:solidFill>
                <a:latin typeface="Arial" panose="020B0604020202020204" pitchFamily="34" charset="0"/>
              </a:rPr>
              <a:t>Innføres i </a:t>
            </a:r>
            <a:r>
              <a:rPr lang="nb-NO" sz="600" err="1">
                <a:solidFill>
                  <a:srgbClr val="0C4789"/>
                </a:solidFill>
                <a:latin typeface="Arial" panose="020B0604020202020204" pitchFamily="34" charset="0"/>
              </a:rPr>
              <a:t>hht</a:t>
            </a:r>
            <a:r>
              <a:rPr lang="nb-NO" sz="600">
                <a:solidFill>
                  <a:srgbClr val="0C4789"/>
                </a:solidFill>
                <a:latin typeface="Arial" panose="020B0604020202020204" pitchFamily="34" charset="0"/>
              </a:rPr>
              <a:t> plan</a:t>
            </a:r>
          </a:p>
        </p:txBody>
      </p:sp>
      <p:sp>
        <p:nvSpPr>
          <p:cNvPr id="66" name="Rectangle 17">
            <a:extLst>
              <a:ext uri="{FF2B5EF4-FFF2-40B4-BE49-F238E27FC236}">
                <a16:creationId xmlns:a16="http://schemas.microsoft.com/office/drawing/2014/main" id="{65B9AB19-2D64-53C2-C387-88979946BF02}"/>
              </a:ext>
            </a:extLst>
          </p:cNvPr>
          <p:cNvSpPr/>
          <p:nvPr/>
        </p:nvSpPr>
        <p:spPr>
          <a:xfrm>
            <a:off x="7734625" y="3566984"/>
            <a:ext cx="1071080" cy="41345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600">
                <a:solidFill>
                  <a:srgbClr val="0C4789"/>
                </a:solidFill>
                <a:latin typeface="Arial" panose="020B0604020202020204" pitchFamily="34" charset="0"/>
              </a:rPr>
              <a:t>Innføres i </a:t>
            </a:r>
            <a:r>
              <a:rPr lang="nb-NO" sz="600" err="1">
                <a:solidFill>
                  <a:srgbClr val="0C4789"/>
                </a:solidFill>
                <a:latin typeface="Arial" panose="020B0604020202020204" pitchFamily="34" charset="0"/>
              </a:rPr>
              <a:t>hht</a:t>
            </a:r>
            <a:r>
              <a:rPr lang="nb-NO" sz="600">
                <a:solidFill>
                  <a:srgbClr val="0C4789"/>
                </a:solidFill>
                <a:latin typeface="Arial" panose="020B0604020202020204" pitchFamily="34" charset="0"/>
              </a:rPr>
              <a:t> plan</a:t>
            </a:r>
          </a:p>
        </p:txBody>
      </p:sp>
      <p:sp>
        <p:nvSpPr>
          <p:cNvPr id="67" name="Rectangle 17">
            <a:extLst>
              <a:ext uri="{FF2B5EF4-FFF2-40B4-BE49-F238E27FC236}">
                <a16:creationId xmlns:a16="http://schemas.microsoft.com/office/drawing/2014/main" id="{D845A118-F33F-710F-F624-D5947EAF87B3}"/>
              </a:ext>
            </a:extLst>
          </p:cNvPr>
          <p:cNvSpPr/>
          <p:nvPr/>
        </p:nvSpPr>
        <p:spPr>
          <a:xfrm>
            <a:off x="7734625" y="3971051"/>
            <a:ext cx="1071080" cy="41345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600" dirty="0">
                <a:solidFill>
                  <a:srgbClr val="0C4789"/>
                </a:solidFill>
                <a:latin typeface="Arial"/>
                <a:cs typeface="Arial"/>
              </a:rPr>
              <a:t>Pågående arbeid, også i BOTT-regi</a:t>
            </a:r>
            <a:endParaRPr lang="nb-NO" dirty="0"/>
          </a:p>
        </p:txBody>
      </p:sp>
      <p:sp>
        <p:nvSpPr>
          <p:cNvPr id="69" name="Rectangle 17">
            <a:extLst>
              <a:ext uri="{FF2B5EF4-FFF2-40B4-BE49-F238E27FC236}">
                <a16:creationId xmlns:a16="http://schemas.microsoft.com/office/drawing/2014/main" id="{3B3E58DF-98FA-0DDA-C446-ABE52C22A7FC}"/>
              </a:ext>
            </a:extLst>
          </p:cNvPr>
          <p:cNvSpPr/>
          <p:nvPr/>
        </p:nvSpPr>
        <p:spPr>
          <a:xfrm>
            <a:off x="7734625" y="4640536"/>
            <a:ext cx="1071080" cy="41345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600">
                <a:solidFill>
                  <a:srgbClr val="0C4789"/>
                </a:solidFill>
                <a:latin typeface="Arial" panose="020B0604020202020204" pitchFamily="34" charset="0"/>
              </a:rPr>
              <a:t>Lister over rolleinnehavere for kvalitetskontroll sendes ut i høst</a:t>
            </a:r>
          </a:p>
        </p:txBody>
      </p:sp>
      <p:sp>
        <p:nvSpPr>
          <p:cNvPr id="70" name="Rectangle 17">
            <a:extLst>
              <a:ext uri="{FF2B5EF4-FFF2-40B4-BE49-F238E27FC236}">
                <a16:creationId xmlns:a16="http://schemas.microsoft.com/office/drawing/2014/main" id="{BC97F30F-98EB-D762-D4F9-5220AAA751D9}"/>
              </a:ext>
            </a:extLst>
          </p:cNvPr>
          <p:cNvSpPr/>
          <p:nvPr/>
        </p:nvSpPr>
        <p:spPr>
          <a:xfrm>
            <a:off x="7734625" y="4206154"/>
            <a:ext cx="1071080" cy="23704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600" dirty="0">
                <a:solidFill>
                  <a:srgbClr val="0C4789"/>
                </a:solidFill>
                <a:latin typeface="Arial" panose="020B0604020202020204" pitchFamily="34" charset="0"/>
              </a:rPr>
              <a:t>Det jobbes med prioritering av utvikling i hver enkelt prosess for beslutning i forvaltingsutvalge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0115221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2E89A14-DF48-8F38-617C-81664AD2F4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2E89A14-DF48-8F38-617C-81664AD2F4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88CDA1A3-6C21-2F9E-2937-88F080F5C2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98339"/>
            <a:ext cx="7615382" cy="463846"/>
          </a:xfrm>
        </p:spPr>
        <p:txBody>
          <a:bodyPr vert="horz"/>
          <a:lstStyle/>
          <a:p>
            <a:r>
              <a:rPr lang="nb-NO" sz="2400"/>
              <a:t>Oversikt hovedrisikoer med forslag til tiltak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31855E6-7DFF-36E5-345D-183AE7C81AFA}"/>
              </a:ext>
            </a:extLst>
          </p:cNvPr>
          <p:cNvSpPr/>
          <p:nvPr/>
        </p:nvSpPr>
        <p:spPr>
          <a:xfrm>
            <a:off x="39717" y="1655753"/>
            <a:ext cx="1107898" cy="12700"/>
          </a:xfrm>
          <a:prstGeom prst="rect">
            <a:avLst/>
          </a:prstGeom>
          <a:solidFill>
            <a:srgbClr val="000000"/>
          </a:solidFill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0AFC8A8-9C92-19D6-8C78-55CD24F662AF}"/>
              </a:ext>
            </a:extLst>
          </p:cNvPr>
          <p:cNvSpPr/>
          <p:nvPr/>
        </p:nvSpPr>
        <p:spPr>
          <a:xfrm>
            <a:off x="1249215" y="1655753"/>
            <a:ext cx="1489842" cy="12700"/>
          </a:xfrm>
          <a:prstGeom prst="rect">
            <a:avLst/>
          </a:prstGeom>
          <a:solidFill>
            <a:srgbClr val="000000"/>
          </a:solidFill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4912442-8254-6895-5F0B-811C3709FBAE}"/>
              </a:ext>
            </a:extLst>
          </p:cNvPr>
          <p:cNvSpPr/>
          <p:nvPr/>
        </p:nvSpPr>
        <p:spPr>
          <a:xfrm>
            <a:off x="2840657" y="1655753"/>
            <a:ext cx="4002598" cy="12700"/>
          </a:xfrm>
          <a:prstGeom prst="rect">
            <a:avLst/>
          </a:prstGeom>
          <a:solidFill>
            <a:srgbClr val="000000"/>
          </a:solidFill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C8430AA-6FA8-7293-429C-F11CC1C3B9D8}"/>
              </a:ext>
            </a:extLst>
          </p:cNvPr>
          <p:cNvSpPr/>
          <p:nvPr/>
        </p:nvSpPr>
        <p:spPr>
          <a:xfrm>
            <a:off x="2840657" y="2012032"/>
            <a:ext cx="4015298" cy="9783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  <a:t>Distribuere plan for når rapporter og moduler utarbeides i BEVISS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539B6FE-4C33-F34F-60FE-097C61DC0D65}"/>
              </a:ext>
            </a:extLst>
          </p:cNvPr>
          <p:cNvSpPr/>
          <p:nvPr/>
        </p:nvSpPr>
        <p:spPr>
          <a:xfrm>
            <a:off x="2840657" y="2640155"/>
            <a:ext cx="4015298" cy="18296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  <a:t>Reetablere superbrukere for BEVISST Innsikt, for å etablere førstelinje brukerstøtte og som ressursgruppe for</a:t>
            </a:r>
            <a:b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</a:br>
            <a: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  <a:t>videreutviklingsbehov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30CB2B-AAB4-531D-6E7B-A59760FF126C}"/>
              </a:ext>
            </a:extLst>
          </p:cNvPr>
          <p:cNvSpPr/>
          <p:nvPr/>
        </p:nvSpPr>
        <p:spPr>
          <a:xfrm>
            <a:off x="2840657" y="3310843"/>
            <a:ext cx="4015298" cy="18296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  <a:t>HR-rapport for PØ og controllere prod.settes snart. Rapporten vil bli forklart og brukerne kan komme med forslag til</a:t>
            </a:r>
            <a:b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</a:br>
            <a: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  <a:t>forbedringer etter at rapporten er distribuer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3709F9F-7D6E-1830-3B8B-BE9321186DE5}"/>
              </a:ext>
            </a:extLst>
          </p:cNvPr>
          <p:cNvSpPr/>
          <p:nvPr/>
        </p:nvSpPr>
        <p:spPr>
          <a:xfrm>
            <a:off x="2840657" y="4024096"/>
            <a:ext cx="4015298" cy="9783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  <a:t>Gjenoppta controllerens rolle i virksomhetsstyringe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D435948-196F-271C-07AA-A1DA038466F5}"/>
              </a:ext>
            </a:extLst>
          </p:cNvPr>
          <p:cNvSpPr/>
          <p:nvPr/>
        </p:nvSpPr>
        <p:spPr>
          <a:xfrm>
            <a:off x="2840657" y="4652219"/>
            <a:ext cx="4015298" cy="18296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  <a:t>Ny prosjektlederportal kommer i BEVISST Innsikt i begynnelsen av mai. Neste er rapporter for instituttledelsen (Våre</a:t>
            </a:r>
            <a:b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</a:br>
            <a: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  <a:t>prosjekter) og utvikling av rosa nivå (Vårt institutt)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8095946-ADE0-76B5-6AB0-9848BA9AFC03}"/>
              </a:ext>
            </a:extLst>
          </p:cNvPr>
          <p:cNvSpPr/>
          <p:nvPr/>
        </p:nvSpPr>
        <p:spPr>
          <a:xfrm>
            <a:off x="6944855" y="1664756"/>
            <a:ext cx="608644" cy="12700"/>
          </a:xfrm>
          <a:prstGeom prst="rect">
            <a:avLst/>
          </a:prstGeom>
          <a:solidFill>
            <a:srgbClr val="000000"/>
          </a:solidFill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92D8DA7-62EA-70D0-5F25-4C23945B8DFB}"/>
              </a:ext>
            </a:extLst>
          </p:cNvPr>
          <p:cNvSpPr/>
          <p:nvPr/>
        </p:nvSpPr>
        <p:spPr>
          <a:xfrm>
            <a:off x="6944855" y="2012032"/>
            <a:ext cx="621344" cy="9783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  <a:t>Q2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35A37EC-BDCE-407A-0CCB-446A3BB3FFF7}"/>
              </a:ext>
            </a:extLst>
          </p:cNvPr>
          <p:cNvSpPr/>
          <p:nvPr/>
        </p:nvSpPr>
        <p:spPr>
          <a:xfrm>
            <a:off x="6944855" y="2682720"/>
            <a:ext cx="621344" cy="9783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  <a:t>Pågående arbeid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975BAFA-EA5F-DE66-FFB8-AAB444A5E304}"/>
              </a:ext>
            </a:extLst>
          </p:cNvPr>
          <p:cNvSpPr/>
          <p:nvPr/>
        </p:nvSpPr>
        <p:spPr>
          <a:xfrm>
            <a:off x="6944855" y="3353408"/>
            <a:ext cx="621344" cy="9783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  <a:t>April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A01670E-2837-2E85-1DC1-20ABD0E157A3}"/>
              </a:ext>
            </a:extLst>
          </p:cNvPr>
          <p:cNvSpPr/>
          <p:nvPr/>
        </p:nvSpPr>
        <p:spPr>
          <a:xfrm>
            <a:off x="6944855" y="4024096"/>
            <a:ext cx="621344" cy="9783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  <a:t>Pågående arbeid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7EF8D40-671C-778D-8EC1-CDF74EC68FF9}"/>
              </a:ext>
            </a:extLst>
          </p:cNvPr>
          <p:cNvSpPr/>
          <p:nvPr/>
        </p:nvSpPr>
        <p:spPr>
          <a:xfrm>
            <a:off x="6944855" y="4694784"/>
            <a:ext cx="621344" cy="9783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  <a:t>Primo mai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6A9EB53-63F6-93FE-6AFF-0E6C54FFA0ED}"/>
              </a:ext>
            </a:extLst>
          </p:cNvPr>
          <p:cNvSpPr/>
          <p:nvPr/>
        </p:nvSpPr>
        <p:spPr>
          <a:xfrm>
            <a:off x="1249215" y="1770053"/>
            <a:ext cx="1489842" cy="1239776"/>
          </a:xfrm>
          <a:prstGeom prst="rect">
            <a:avLst/>
          </a:prstGeom>
          <a:solidFill>
            <a:srgbClr val="B6C8E9"/>
          </a:solidFill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D84920F-1DAD-CC13-77F4-76E09847B0BB}"/>
              </a:ext>
            </a:extLst>
          </p:cNvPr>
          <p:cNvSpPr/>
          <p:nvPr/>
        </p:nvSpPr>
        <p:spPr>
          <a:xfrm>
            <a:off x="1249215" y="3111429"/>
            <a:ext cx="1489842" cy="569088"/>
          </a:xfrm>
          <a:prstGeom prst="rect">
            <a:avLst/>
          </a:prstGeom>
          <a:solidFill>
            <a:srgbClr val="B6C8E9"/>
          </a:solidFill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6658039-2C47-4A3A-5F26-0F5737838226}"/>
              </a:ext>
            </a:extLst>
          </p:cNvPr>
          <p:cNvSpPr/>
          <p:nvPr/>
        </p:nvSpPr>
        <p:spPr>
          <a:xfrm>
            <a:off x="1249215" y="3782117"/>
            <a:ext cx="1489842" cy="569088"/>
          </a:xfrm>
          <a:prstGeom prst="rect">
            <a:avLst/>
          </a:prstGeom>
          <a:solidFill>
            <a:srgbClr val="B6C8E9"/>
          </a:solidFill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837EF67-CEA4-A461-1074-64991A18F9E5}"/>
              </a:ext>
            </a:extLst>
          </p:cNvPr>
          <p:cNvSpPr/>
          <p:nvPr/>
        </p:nvSpPr>
        <p:spPr>
          <a:xfrm>
            <a:off x="1249215" y="4452805"/>
            <a:ext cx="1489842" cy="569088"/>
          </a:xfrm>
          <a:prstGeom prst="rect">
            <a:avLst/>
          </a:prstGeom>
          <a:solidFill>
            <a:srgbClr val="B6C8E9"/>
          </a:solidFill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0EA7796-E5F7-D7DD-8D74-D89B9A87506D}"/>
              </a:ext>
            </a:extLst>
          </p:cNvPr>
          <p:cNvSpPr/>
          <p:nvPr/>
        </p:nvSpPr>
        <p:spPr>
          <a:xfrm>
            <a:off x="39717" y="1770053"/>
            <a:ext cx="1107898" cy="3251840"/>
          </a:xfrm>
          <a:prstGeom prst="rect">
            <a:avLst/>
          </a:prstGeom>
          <a:solidFill>
            <a:srgbClr val="014693"/>
          </a:solidFill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17CDA3F-861A-DF5E-0A15-7439CD159434}"/>
              </a:ext>
            </a:extLst>
          </p:cNvPr>
          <p:cNvSpPr/>
          <p:nvPr/>
        </p:nvSpPr>
        <p:spPr>
          <a:xfrm>
            <a:off x="39717" y="1474390"/>
            <a:ext cx="1120598" cy="15458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000">
                <a:solidFill>
                  <a:srgbClr val="000000"/>
                </a:solidFill>
                <a:latin typeface="Arial" panose="020B0604020202020204" pitchFamily="34" charset="0"/>
              </a:rPr>
              <a:t>Prosessområde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DC580D1-5F2F-214C-9BF3-F5A832C83523}"/>
              </a:ext>
            </a:extLst>
          </p:cNvPr>
          <p:cNvSpPr/>
          <p:nvPr/>
        </p:nvSpPr>
        <p:spPr>
          <a:xfrm>
            <a:off x="1249215" y="1474390"/>
            <a:ext cx="1502542" cy="15458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000">
                <a:solidFill>
                  <a:srgbClr val="000000"/>
                </a:solidFill>
                <a:latin typeface="Arial" panose="020B0604020202020204" pitchFamily="34" charset="0"/>
              </a:rPr>
              <a:t>Overordnet risiko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988C8AA-C943-6AB6-B565-918607477B39}"/>
              </a:ext>
            </a:extLst>
          </p:cNvPr>
          <p:cNvSpPr/>
          <p:nvPr/>
        </p:nvSpPr>
        <p:spPr>
          <a:xfrm>
            <a:off x="2840657" y="1474390"/>
            <a:ext cx="4015298" cy="15458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000">
                <a:solidFill>
                  <a:srgbClr val="000000"/>
                </a:solidFill>
                <a:latin typeface="Arial" panose="020B0604020202020204" pitchFamily="34" charset="0"/>
              </a:rPr>
              <a:t>Forslag til overordnet tiltak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D96FBDB-A374-9A5A-7F04-4B998D985E5A}"/>
              </a:ext>
            </a:extLst>
          </p:cNvPr>
          <p:cNvSpPr/>
          <p:nvPr/>
        </p:nvSpPr>
        <p:spPr>
          <a:xfrm>
            <a:off x="6944855" y="1474390"/>
            <a:ext cx="621344" cy="15458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000">
                <a:solidFill>
                  <a:srgbClr val="000000"/>
                </a:solidFill>
                <a:latin typeface="Arial" panose="020B0604020202020204" pitchFamily="34" charset="0"/>
              </a:rPr>
              <a:t>Når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E75C862-2F44-CDA1-A67A-4AD7C05AA2E7}"/>
              </a:ext>
            </a:extLst>
          </p:cNvPr>
          <p:cNvSpPr/>
          <p:nvPr/>
        </p:nvSpPr>
        <p:spPr>
          <a:xfrm>
            <a:off x="1300015" y="2290623"/>
            <a:ext cx="1400942" cy="21133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700">
                <a:solidFill>
                  <a:srgbClr val="000000"/>
                </a:solidFill>
                <a:latin typeface="Arial" panose="020B0604020202020204" pitchFamily="34" charset="0"/>
              </a:rPr>
              <a:t>Kvalitet i budsjett 2023 og</a:t>
            </a:r>
            <a:br>
              <a:rPr lang="nb-NO" sz="700">
                <a:solidFill>
                  <a:srgbClr val="000000"/>
                </a:solidFill>
                <a:latin typeface="Arial" panose="020B0604020202020204" pitchFamily="34" charset="0"/>
              </a:rPr>
            </a:br>
            <a:r>
              <a:rPr lang="nb-NO" sz="700">
                <a:solidFill>
                  <a:srgbClr val="000000"/>
                </a:solidFill>
                <a:latin typeface="Arial" panose="020B0604020202020204" pitchFamily="34" charset="0"/>
              </a:rPr>
              <a:t>oversikt/styring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B48B500-056F-05D3-1864-B2A17B2C6FDB}"/>
              </a:ext>
            </a:extLst>
          </p:cNvPr>
          <p:cNvSpPr/>
          <p:nvPr/>
        </p:nvSpPr>
        <p:spPr>
          <a:xfrm>
            <a:off x="1300015" y="3296655"/>
            <a:ext cx="1400942" cy="21133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700">
                <a:solidFill>
                  <a:srgbClr val="000000"/>
                </a:solidFill>
                <a:latin typeface="Arial" panose="020B0604020202020204" pitchFamily="34" charset="0"/>
              </a:rPr>
              <a:t>Manglende innsikt i HR og</a:t>
            </a:r>
            <a:br>
              <a:rPr lang="nb-NO" sz="700">
                <a:solidFill>
                  <a:srgbClr val="000000"/>
                </a:solidFill>
                <a:latin typeface="Arial" panose="020B0604020202020204" pitchFamily="34" charset="0"/>
              </a:rPr>
            </a:br>
            <a:r>
              <a:rPr lang="nb-NO" sz="700">
                <a:solidFill>
                  <a:srgbClr val="000000"/>
                </a:solidFill>
                <a:latin typeface="Arial" panose="020B0604020202020204" pitchFamily="34" charset="0"/>
              </a:rPr>
              <a:t>lønnsdata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45D7646-A341-F33C-F3FC-AAE1CB463554}"/>
              </a:ext>
            </a:extLst>
          </p:cNvPr>
          <p:cNvSpPr/>
          <p:nvPr/>
        </p:nvSpPr>
        <p:spPr>
          <a:xfrm>
            <a:off x="1300015" y="3967343"/>
            <a:ext cx="1400942" cy="21133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700">
                <a:solidFill>
                  <a:srgbClr val="000000"/>
                </a:solidFill>
                <a:latin typeface="Arial" panose="020B0604020202020204" pitchFamily="34" charset="0"/>
              </a:rPr>
              <a:t>Uklarheter knyttet til </a:t>
            </a:r>
          </a:p>
          <a:p>
            <a:pPr algn="ctr"/>
            <a:r>
              <a:rPr lang="nb-NO" sz="700">
                <a:solidFill>
                  <a:srgbClr val="000000"/>
                </a:solidFill>
                <a:latin typeface="Arial" panose="020B0604020202020204" pitchFamily="34" charset="0"/>
              </a:rPr>
              <a:t>controller-rollen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1FDDEA4-18E0-6467-B404-32BCA63A2A97}"/>
              </a:ext>
            </a:extLst>
          </p:cNvPr>
          <p:cNvSpPr/>
          <p:nvPr/>
        </p:nvSpPr>
        <p:spPr>
          <a:xfrm>
            <a:off x="1300015" y="4687690"/>
            <a:ext cx="1400942" cy="11201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700">
                <a:solidFill>
                  <a:srgbClr val="000000"/>
                </a:solidFill>
                <a:latin typeface="Arial" panose="020B0604020202020204" pitchFamily="34" charset="0"/>
              </a:rPr>
              <a:t>Prosjektlederportal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89051CBA-4071-E056-BBAF-268B0908B42B}"/>
              </a:ext>
            </a:extLst>
          </p:cNvPr>
          <p:cNvSpPr/>
          <p:nvPr/>
        </p:nvSpPr>
        <p:spPr>
          <a:xfrm>
            <a:off x="90517" y="3317938"/>
            <a:ext cx="1018998" cy="16877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100">
                <a:solidFill>
                  <a:srgbClr val="FFFFFF"/>
                </a:solidFill>
                <a:latin typeface="Arial" panose="020B0604020202020204" pitchFamily="34" charset="0"/>
              </a:rPr>
              <a:t>PBO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4AECB510-B58D-F53A-94FB-A23C37C1C783}"/>
              </a:ext>
            </a:extLst>
          </p:cNvPr>
          <p:cNvGrpSpPr/>
          <p:nvPr/>
        </p:nvGrpSpPr>
        <p:grpSpPr>
          <a:xfrm>
            <a:off x="5394472" y="53221"/>
            <a:ext cx="3468915" cy="241048"/>
            <a:chOff x="735389" y="1814286"/>
            <a:chExt cx="4634895" cy="295124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B042356E-2E68-15D8-CE14-3324E5DA7054}"/>
                </a:ext>
              </a:extLst>
            </p:cNvPr>
            <p:cNvSpPr/>
            <p:nvPr/>
          </p:nvSpPr>
          <p:spPr>
            <a:xfrm>
              <a:off x="735389" y="1814286"/>
              <a:ext cx="1129429" cy="295124"/>
            </a:xfrm>
            <a:prstGeom prst="rect">
              <a:avLst/>
            </a:prstGeom>
            <a:noFill/>
            <a:ln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600">
                  <a:solidFill>
                    <a:schemeClr val="tx1"/>
                  </a:solidFill>
                </a:rPr>
                <a:t>Økonomi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B503B56A-B325-0B72-A943-008F17615A43}"/>
                </a:ext>
              </a:extLst>
            </p:cNvPr>
            <p:cNvSpPr/>
            <p:nvPr/>
          </p:nvSpPr>
          <p:spPr>
            <a:xfrm>
              <a:off x="1903878" y="1814286"/>
              <a:ext cx="1129429" cy="295124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600">
                  <a:solidFill>
                    <a:schemeClr val="tx1"/>
                  </a:solidFill>
                </a:rPr>
                <a:t>Virksomhetsstyring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EBDC1C7-FB34-6117-8F4B-85ACCB86BEFC}"/>
                </a:ext>
              </a:extLst>
            </p:cNvPr>
            <p:cNvSpPr/>
            <p:nvPr/>
          </p:nvSpPr>
          <p:spPr>
            <a:xfrm>
              <a:off x="3072367" y="1814286"/>
              <a:ext cx="1129429" cy="295124"/>
            </a:xfrm>
            <a:prstGeom prst="rect">
              <a:avLst/>
            </a:prstGeom>
            <a:noFill/>
            <a:ln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600">
                  <a:solidFill>
                    <a:schemeClr val="tx1"/>
                  </a:solidFill>
                </a:rPr>
                <a:t>HR /Tjenestesenter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397ED44-32C6-D58E-1109-916789B43C06}"/>
                </a:ext>
              </a:extLst>
            </p:cNvPr>
            <p:cNvSpPr/>
            <p:nvPr/>
          </p:nvSpPr>
          <p:spPr>
            <a:xfrm>
              <a:off x="4240855" y="1814286"/>
              <a:ext cx="1129429" cy="295124"/>
            </a:xfrm>
            <a:prstGeom prst="rect">
              <a:avLst/>
            </a:prstGeom>
            <a:noFill/>
            <a:ln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600">
                  <a:solidFill>
                    <a:schemeClr val="tx1"/>
                  </a:solidFill>
                </a:rPr>
                <a:t>Felles</a:t>
              </a:r>
            </a:p>
          </p:txBody>
        </p:sp>
      </p:grpSp>
      <p:sp>
        <p:nvSpPr>
          <p:cNvPr id="7" name="Rectangle 31">
            <a:extLst>
              <a:ext uri="{FF2B5EF4-FFF2-40B4-BE49-F238E27FC236}">
                <a16:creationId xmlns:a16="http://schemas.microsoft.com/office/drawing/2014/main" id="{8E7E4C4E-99F4-0405-3075-A7CBBEAF7D40}"/>
              </a:ext>
            </a:extLst>
          </p:cNvPr>
          <p:cNvSpPr/>
          <p:nvPr/>
        </p:nvSpPr>
        <p:spPr>
          <a:xfrm>
            <a:off x="7819391" y="1474390"/>
            <a:ext cx="621344" cy="15458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000">
                <a:solidFill>
                  <a:srgbClr val="0C4789"/>
                </a:solidFill>
                <a:latin typeface="Arial" panose="020B0604020202020204" pitchFamily="34" charset="0"/>
              </a:rPr>
              <a:t>Status</a:t>
            </a:r>
          </a:p>
        </p:txBody>
      </p:sp>
      <p:sp>
        <p:nvSpPr>
          <p:cNvPr id="39" name="Rectangle 17">
            <a:extLst>
              <a:ext uri="{FF2B5EF4-FFF2-40B4-BE49-F238E27FC236}">
                <a16:creationId xmlns:a16="http://schemas.microsoft.com/office/drawing/2014/main" id="{DE83AD59-60B4-003F-A054-391CB072B67F}"/>
              </a:ext>
            </a:extLst>
          </p:cNvPr>
          <p:cNvSpPr/>
          <p:nvPr/>
        </p:nvSpPr>
        <p:spPr>
          <a:xfrm>
            <a:off x="7945950" y="1664756"/>
            <a:ext cx="608644" cy="12700"/>
          </a:xfrm>
          <a:prstGeom prst="rect">
            <a:avLst/>
          </a:prstGeom>
          <a:solidFill>
            <a:srgbClr val="000000"/>
          </a:solidFill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solidFill>
                <a:srgbClr val="0C4789"/>
              </a:solidFill>
            </a:endParaRPr>
          </a:p>
        </p:txBody>
      </p:sp>
      <p:sp>
        <p:nvSpPr>
          <p:cNvPr id="40" name="Rectangle 20">
            <a:extLst>
              <a:ext uri="{FF2B5EF4-FFF2-40B4-BE49-F238E27FC236}">
                <a16:creationId xmlns:a16="http://schemas.microsoft.com/office/drawing/2014/main" id="{0B1D71E6-9EBB-1C44-EECC-3261BA855A52}"/>
              </a:ext>
            </a:extLst>
          </p:cNvPr>
          <p:cNvSpPr/>
          <p:nvPr/>
        </p:nvSpPr>
        <p:spPr>
          <a:xfrm>
            <a:off x="7932301" y="1949713"/>
            <a:ext cx="621344" cy="18295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600" dirty="0">
                <a:solidFill>
                  <a:srgbClr val="0C4789"/>
                </a:solidFill>
                <a:latin typeface="Arial"/>
                <a:cs typeface="Arial"/>
              </a:rPr>
              <a:t>Se statusrapport</a:t>
            </a:r>
            <a:endParaRPr lang="nb-NO" sz="600" dirty="0">
              <a:solidFill>
                <a:srgbClr val="0C4789"/>
              </a:solidFill>
              <a:latin typeface="Arial" panose="020B0604020202020204" pitchFamily="34" charset="0"/>
            </a:endParaRPr>
          </a:p>
        </p:txBody>
      </p:sp>
      <p:sp>
        <p:nvSpPr>
          <p:cNvPr id="42" name="Rectangle 20">
            <a:extLst>
              <a:ext uri="{FF2B5EF4-FFF2-40B4-BE49-F238E27FC236}">
                <a16:creationId xmlns:a16="http://schemas.microsoft.com/office/drawing/2014/main" id="{19FE019E-49A7-979C-5C07-20DA3C1F4E5D}"/>
              </a:ext>
            </a:extLst>
          </p:cNvPr>
          <p:cNvSpPr/>
          <p:nvPr/>
        </p:nvSpPr>
        <p:spPr>
          <a:xfrm>
            <a:off x="7932301" y="2640156"/>
            <a:ext cx="621344" cy="18295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600" dirty="0">
                <a:solidFill>
                  <a:srgbClr val="0C4789"/>
                </a:solidFill>
                <a:latin typeface="Arial"/>
                <a:cs typeface="Arial"/>
              </a:rPr>
              <a:t>Reetablert via </a:t>
            </a:r>
            <a:r>
              <a:rPr lang="nb-NO" sz="600" dirty="0" err="1">
                <a:solidFill>
                  <a:srgbClr val="0C4789"/>
                </a:solidFill>
                <a:latin typeface="Arial"/>
                <a:cs typeface="Arial"/>
              </a:rPr>
              <a:t>controllernettverk</a:t>
            </a:r>
            <a:endParaRPr lang="nb-NO" sz="600" dirty="0" err="1">
              <a:solidFill>
                <a:srgbClr val="0C4789"/>
              </a:solidFill>
              <a:latin typeface="Arial" panose="020B0604020202020204" pitchFamily="34" charset="0"/>
            </a:endParaRPr>
          </a:p>
        </p:txBody>
      </p:sp>
      <p:sp>
        <p:nvSpPr>
          <p:cNvPr id="43" name="Rectangle 20">
            <a:extLst>
              <a:ext uri="{FF2B5EF4-FFF2-40B4-BE49-F238E27FC236}">
                <a16:creationId xmlns:a16="http://schemas.microsoft.com/office/drawing/2014/main" id="{689333E8-9BB3-434E-31ED-55A3AC74C34F}"/>
              </a:ext>
            </a:extLst>
          </p:cNvPr>
          <p:cNvSpPr/>
          <p:nvPr/>
        </p:nvSpPr>
        <p:spPr>
          <a:xfrm>
            <a:off x="7932301" y="3370957"/>
            <a:ext cx="621344" cy="18295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600">
                <a:solidFill>
                  <a:srgbClr val="0C4789"/>
                </a:solidFill>
                <a:latin typeface="Arial" panose="020B0604020202020204" pitchFamily="34" charset="0"/>
              </a:rPr>
              <a:t>Levert</a:t>
            </a:r>
          </a:p>
        </p:txBody>
      </p:sp>
      <p:sp>
        <p:nvSpPr>
          <p:cNvPr id="44" name="Rectangle 20">
            <a:extLst>
              <a:ext uri="{FF2B5EF4-FFF2-40B4-BE49-F238E27FC236}">
                <a16:creationId xmlns:a16="http://schemas.microsoft.com/office/drawing/2014/main" id="{CCFC040C-2C43-17E2-D4E3-CEB360149EE8}"/>
              </a:ext>
            </a:extLst>
          </p:cNvPr>
          <p:cNvSpPr/>
          <p:nvPr/>
        </p:nvSpPr>
        <p:spPr>
          <a:xfrm>
            <a:off x="7932301" y="4009132"/>
            <a:ext cx="621344" cy="18295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600">
                <a:solidFill>
                  <a:srgbClr val="0C4789"/>
                </a:solidFill>
                <a:latin typeface="Arial" panose="020B0604020202020204" pitchFamily="34" charset="0"/>
              </a:rPr>
              <a:t>Løpende arbeid</a:t>
            </a:r>
          </a:p>
        </p:txBody>
      </p:sp>
      <p:sp>
        <p:nvSpPr>
          <p:cNvPr id="45" name="Rectangle 20">
            <a:extLst>
              <a:ext uri="{FF2B5EF4-FFF2-40B4-BE49-F238E27FC236}">
                <a16:creationId xmlns:a16="http://schemas.microsoft.com/office/drawing/2014/main" id="{CA95A328-4DD8-2A32-5F7D-F1AA3F35A853}"/>
              </a:ext>
            </a:extLst>
          </p:cNvPr>
          <p:cNvSpPr/>
          <p:nvPr/>
        </p:nvSpPr>
        <p:spPr>
          <a:xfrm>
            <a:off x="7932301" y="4708228"/>
            <a:ext cx="621344" cy="18295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600">
                <a:solidFill>
                  <a:srgbClr val="0C4789"/>
                </a:solidFill>
                <a:latin typeface="Arial" panose="020B0604020202020204" pitchFamily="34" charset="0"/>
              </a:rPr>
              <a:t>Lever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4832921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2E89A14-DF48-8F38-617C-81664AD2F4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2E89A14-DF48-8F38-617C-81664AD2F4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88CDA1A3-6C21-2F9E-2937-88F080F5C2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98339"/>
            <a:ext cx="7615382" cy="463846"/>
          </a:xfrm>
        </p:spPr>
        <p:txBody>
          <a:bodyPr vert="horz"/>
          <a:lstStyle/>
          <a:p>
            <a:r>
              <a:rPr lang="nb-NO" sz="2400"/>
              <a:t>Oversikt hovedrisikoer med forslag til tiltak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64AD8E68-CAE9-DAA7-5F0E-AD064DDC5C8E}"/>
              </a:ext>
            </a:extLst>
          </p:cNvPr>
          <p:cNvGrpSpPr/>
          <p:nvPr/>
        </p:nvGrpSpPr>
        <p:grpSpPr>
          <a:xfrm>
            <a:off x="508000" y="1544076"/>
            <a:ext cx="6719593" cy="3354759"/>
            <a:chOff x="508000" y="1434524"/>
            <a:chExt cx="7526482" cy="3464312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C689BF2B-7AC3-2B3C-FADB-7F8530B36807}"/>
                </a:ext>
              </a:extLst>
            </p:cNvPr>
            <p:cNvSpPr/>
            <p:nvPr/>
          </p:nvSpPr>
          <p:spPr>
            <a:xfrm>
              <a:off x="508000" y="1699078"/>
              <a:ext cx="1107898" cy="12700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>
              <a:reflection stA="0" endPos="0" dir="5400000" sy="-100000" algn="bl" rotWithShape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b-NO"/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7FC9C648-5483-422E-1082-34020007032C}"/>
                </a:ext>
              </a:extLst>
            </p:cNvPr>
            <p:cNvSpPr/>
            <p:nvPr/>
          </p:nvSpPr>
          <p:spPr>
            <a:xfrm>
              <a:off x="1717498" y="1699078"/>
              <a:ext cx="1489842" cy="12700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>
              <a:reflection stA="0" endPos="0" dir="5400000" sy="-100000" algn="bl" rotWithShape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b-NO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5D424B57-8089-0D73-66FF-9CE744811AF6}"/>
                </a:ext>
              </a:extLst>
            </p:cNvPr>
            <p:cNvSpPr/>
            <p:nvPr/>
          </p:nvSpPr>
          <p:spPr>
            <a:xfrm>
              <a:off x="3308940" y="1699078"/>
              <a:ext cx="4002598" cy="12700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>
              <a:reflection stA="0" endPos="0" dir="5400000" sy="-100000" algn="bl" rotWithShape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b-NO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01AA085-D299-EA82-CBAA-48B436068705}"/>
                </a:ext>
              </a:extLst>
            </p:cNvPr>
            <p:cNvSpPr/>
            <p:nvPr/>
          </p:nvSpPr>
          <p:spPr>
            <a:xfrm>
              <a:off x="3308940" y="1947660"/>
              <a:ext cx="4015298" cy="9782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>
              <a:reflection stA="0" endPos="0" dir="5400000" sy="-100000" algn="bl" rotWithShape="0"/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nb-NO" sz="600">
                  <a:solidFill>
                    <a:srgbClr val="000000"/>
                  </a:solidFill>
                  <a:latin typeface="Arial" panose="020B0604020202020204" pitchFamily="34" charset="0"/>
                </a:rPr>
                <a:t>Meldt inn til DFØ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A6FB01F-2CDE-88A0-0DCD-F6B33C424276}"/>
                </a:ext>
              </a:extLst>
            </p:cNvPr>
            <p:cNvSpPr/>
            <p:nvPr/>
          </p:nvSpPr>
          <p:spPr>
            <a:xfrm>
              <a:off x="3308940" y="2402954"/>
              <a:ext cx="4015298" cy="9783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>
              <a:reflection stA="0" endPos="0" dir="5400000" sy="-100000" algn="bl" rotWithShape="0"/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nb-NO" sz="600">
                  <a:solidFill>
                    <a:srgbClr val="000000"/>
                  </a:solidFill>
                  <a:latin typeface="Arial" panose="020B0604020202020204" pitchFamily="34" charset="0"/>
                </a:rPr>
                <a:t>Utbedre ToA-skjema i BOTT forvaltning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4E9574E-558E-C111-8C0C-09043F2D8C66}"/>
                </a:ext>
              </a:extLst>
            </p:cNvPr>
            <p:cNvSpPr/>
            <p:nvPr/>
          </p:nvSpPr>
          <p:spPr>
            <a:xfrm>
              <a:off x="3308940" y="2858248"/>
              <a:ext cx="4015298" cy="9783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>
              <a:reflection stA="0" endPos="0" dir="5400000" sy="-100000" algn="bl" rotWithShape="0"/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nb-NO" sz="600">
                  <a:solidFill>
                    <a:srgbClr val="000000"/>
                  </a:solidFill>
                  <a:latin typeface="Arial" panose="020B0604020202020204" pitchFamily="34" charset="0"/>
                </a:rPr>
                <a:t>Iverksatt en gjennomgang av HR-prosesser for HR-medarbeidere (HR / TS)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A229180D-B122-2D29-1314-27EA1FF5F4B7}"/>
                </a:ext>
              </a:extLst>
            </p:cNvPr>
            <p:cNvSpPr/>
            <p:nvPr/>
          </p:nvSpPr>
          <p:spPr>
            <a:xfrm>
              <a:off x="3308940" y="3313542"/>
              <a:ext cx="4015298" cy="9783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>
              <a:reflection stA="0" endPos="0" dir="5400000" sy="-100000" algn="bl" rotWithShape="0"/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nb-NO" sz="600">
                  <a:solidFill>
                    <a:srgbClr val="000000"/>
                  </a:solidFill>
                  <a:latin typeface="Arial" panose="020B0604020202020204" pitchFamily="34" charset="0"/>
                </a:rPr>
                <a:t>Egen fakultetsrunde for å gjøre justeringer. Se på muligheter for å fordele lederrollen på flere nivå (eks. 4. nivå)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D22B846-42C9-DE61-12E8-70960FBF4B0C}"/>
                </a:ext>
              </a:extLst>
            </p:cNvPr>
            <p:cNvSpPr/>
            <p:nvPr/>
          </p:nvSpPr>
          <p:spPr>
            <a:xfrm>
              <a:off x="3308940" y="3768836"/>
              <a:ext cx="4015298" cy="9783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>
              <a:reflection stA="0" endPos="0" dir="5400000" sy="-100000" algn="bl" rotWithShape="0"/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nb-NO" sz="600">
                  <a:solidFill>
                    <a:srgbClr val="000000"/>
                  </a:solidFill>
                  <a:latin typeface="Arial" panose="020B0604020202020204" pitchFamily="34" charset="0"/>
                </a:rPr>
                <a:t>Vurdere en tredje kjøring samt vurdere ytterligere tiltak knyttet til Betalmeg-løsningen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254270D2-9085-0BA0-D6BA-0376CC1A0A0C}"/>
                </a:ext>
              </a:extLst>
            </p:cNvPr>
            <p:cNvSpPr/>
            <p:nvPr/>
          </p:nvSpPr>
          <p:spPr>
            <a:xfrm>
              <a:off x="3308940" y="4181565"/>
              <a:ext cx="4015298" cy="18296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>
              <a:reflection stA="0" endPos="0" dir="5400000" sy="-100000" algn="bl" rotWithShape="0"/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nb-NO" sz="600" dirty="0">
                  <a:solidFill>
                    <a:srgbClr val="000000"/>
                  </a:solidFill>
                  <a:latin typeface="Arial" panose="020B0604020202020204" pitchFamily="34" charset="0"/>
                </a:rPr>
                <a:t>Iverksette opplæring i innsikt for å sikre bedre forståelse av hva som finnes i systemet og kommunisere mer rundt tekniske løsninger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665DE3DB-0EF3-17C3-6E05-DC3A621E49ED}"/>
                </a:ext>
              </a:extLst>
            </p:cNvPr>
            <p:cNvSpPr/>
            <p:nvPr/>
          </p:nvSpPr>
          <p:spPr>
            <a:xfrm>
              <a:off x="3308940" y="4679424"/>
              <a:ext cx="4015298" cy="9783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>
              <a:reflection stA="0" endPos="0" dir="5400000" sy="-100000" algn="bl" rotWithShape="0"/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nb-NO" sz="600" dirty="0">
                  <a:solidFill>
                    <a:srgbClr val="000000"/>
                  </a:solidFill>
                  <a:latin typeface="Arial" panose="020B0604020202020204" pitchFamily="34" charset="0"/>
                </a:rPr>
                <a:t>Vi jobber med rutiner knyttet til permisjon internt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486C6342-FF4F-7638-E5AF-B4265523EEA2}"/>
                </a:ext>
              </a:extLst>
            </p:cNvPr>
            <p:cNvSpPr/>
            <p:nvPr/>
          </p:nvSpPr>
          <p:spPr>
            <a:xfrm>
              <a:off x="7413138" y="1699078"/>
              <a:ext cx="608644" cy="12700"/>
            </a:xfrm>
            <a:prstGeom prst="rect">
              <a:avLst/>
            </a:prstGeom>
            <a:solidFill>
              <a:srgbClr val="000000"/>
            </a:solidFill>
            <a:ln w="25400" cap="flat" cmpd="sng" algn="ctr">
              <a:noFill/>
              <a:prstDash val="solid"/>
            </a:ln>
            <a:effectLst>
              <a:reflection stA="0" endPos="0" dir="5400000" sy="-100000" algn="bl" rotWithShape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b-NO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0C6438A0-EEFC-B9C0-0C7E-C3D4C5A5B1F5}"/>
                </a:ext>
              </a:extLst>
            </p:cNvPr>
            <p:cNvSpPr/>
            <p:nvPr/>
          </p:nvSpPr>
          <p:spPr>
            <a:xfrm>
              <a:off x="7413138" y="1905095"/>
              <a:ext cx="621344" cy="18295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>
              <a:reflection stA="0" endPos="0" dir="5400000" sy="-100000" algn="bl" rotWithShape="0"/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600">
                  <a:solidFill>
                    <a:srgbClr val="000000"/>
                  </a:solidFill>
                  <a:latin typeface="Arial" panose="020B0604020202020204" pitchFamily="34" charset="0"/>
                </a:rPr>
                <a:t>Må avklares med</a:t>
              </a:r>
              <a:br>
                <a:rPr lang="nb-NO" sz="600">
                  <a:solidFill>
                    <a:srgbClr val="000000"/>
                  </a:solidFill>
                  <a:latin typeface="Arial" panose="020B0604020202020204" pitchFamily="34" charset="0"/>
                </a:rPr>
              </a:br>
              <a:r>
                <a:rPr lang="nb-NO" sz="600">
                  <a:solidFill>
                    <a:srgbClr val="000000"/>
                  </a:solidFill>
                  <a:latin typeface="Arial" panose="020B0604020202020204" pitchFamily="34" charset="0"/>
                </a:rPr>
                <a:t>DFØ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523F6A47-6E02-7663-3502-E00807D81179}"/>
                </a:ext>
              </a:extLst>
            </p:cNvPr>
            <p:cNvSpPr/>
            <p:nvPr/>
          </p:nvSpPr>
          <p:spPr>
            <a:xfrm>
              <a:off x="7413138" y="2360389"/>
              <a:ext cx="621344" cy="18295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>
              <a:reflection stA="0" endPos="0" dir="5400000" sy="-100000" algn="bl" rotWithShape="0"/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600">
                  <a:solidFill>
                    <a:srgbClr val="000000"/>
                  </a:solidFill>
                  <a:latin typeface="Arial" panose="020B0604020202020204" pitchFamily="34" charset="0"/>
                </a:rPr>
                <a:t>Må avklares i</a:t>
              </a:r>
              <a:br>
                <a:rPr lang="nb-NO" sz="600">
                  <a:solidFill>
                    <a:srgbClr val="000000"/>
                  </a:solidFill>
                  <a:latin typeface="Arial" panose="020B0604020202020204" pitchFamily="34" charset="0"/>
                </a:rPr>
              </a:br>
              <a:r>
                <a:rPr lang="nb-NO" sz="600">
                  <a:solidFill>
                    <a:srgbClr val="000000"/>
                  </a:solidFill>
                  <a:latin typeface="Arial" panose="020B0604020202020204" pitchFamily="34" charset="0"/>
                </a:rPr>
                <a:t>BOTT Forvaltning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13772114-FBFF-694C-482D-FB254C8FD08D}"/>
                </a:ext>
              </a:extLst>
            </p:cNvPr>
            <p:cNvSpPr/>
            <p:nvPr/>
          </p:nvSpPr>
          <p:spPr>
            <a:xfrm>
              <a:off x="7413138" y="2858248"/>
              <a:ext cx="621344" cy="9783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>
              <a:reflection stA="0" endPos="0" dir="5400000" sy="-100000" algn="bl" rotWithShape="0"/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600">
                  <a:solidFill>
                    <a:srgbClr val="000000"/>
                  </a:solidFill>
                  <a:latin typeface="Arial" panose="020B0604020202020204" pitchFamily="34" charset="0"/>
                </a:rPr>
                <a:t>Pågående arbeid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2E4BC7D0-33B3-CA7D-A1BC-295B1F6008DB}"/>
                </a:ext>
              </a:extLst>
            </p:cNvPr>
            <p:cNvSpPr/>
            <p:nvPr/>
          </p:nvSpPr>
          <p:spPr>
            <a:xfrm>
              <a:off x="7413138" y="3313542"/>
              <a:ext cx="621344" cy="9783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>
              <a:reflection stA="0" endPos="0" dir="5400000" sy="-100000" algn="bl" rotWithShape="0"/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600">
                  <a:solidFill>
                    <a:srgbClr val="000000"/>
                  </a:solidFill>
                  <a:latin typeface="Arial" panose="020B0604020202020204" pitchFamily="34" charset="0"/>
                </a:rPr>
                <a:t>Q2 / Q3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58838065-CD90-87BB-4F51-3430E3B765A3}"/>
                </a:ext>
              </a:extLst>
            </p:cNvPr>
            <p:cNvSpPr/>
            <p:nvPr/>
          </p:nvSpPr>
          <p:spPr>
            <a:xfrm>
              <a:off x="7413138" y="3768836"/>
              <a:ext cx="621344" cy="9783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>
              <a:reflection stA="0" endPos="0" dir="5400000" sy="-100000" algn="bl" rotWithShape="0"/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600">
                  <a:solidFill>
                    <a:srgbClr val="000000"/>
                  </a:solidFill>
                  <a:latin typeface="Arial" panose="020B0604020202020204" pitchFamily="34" charset="0"/>
                </a:rPr>
                <a:t>Q2 / Q3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E64ACC94-9E70-BFF3-5A9C-C639EE2F401E}"/>
                </a:ext>
              </a:extLst>
            </p:cNvPr>
            <p:cNvSpPr/>
            <p:nvPr/>
          </p:nvSpPr>
          <p:spPr>
            <a:xfrm>
              <a:off x="7413138" y="4224130"/>
              <a:ext cx="621344" cy="9783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>
              <a:reflection stA="0" endPos="0" dir="5400000" sy="-100000" algn="bl" rotWithShape="0"/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600">
                  <a:solidFill>
                    <a:srgbClr val="000000"/>
                  </a:solidFill>
                  <a:latin typeface="Arial" panose="020B0604020202020204" pitchFamily="34" charset="0"/>
                </a:rPr>
                <a:t>Q2 / Q3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B8A4A683-BFF8-135C-9286-4C666E94A639}"/>
                </a:ext>
              </a:extLst>
            </p:cNvPr>
            <p:cNvSpPr/>
            <p:nvPr/>
          </p:nvSpPr>
          <p:spPr>
            <a:xfrm>
              <a:off x="7413138" y="4679424"/>
              <a:ext cx="621344" cy="9783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>
              <a:reflection stA="0" endPos="0" dir="5400000" sy="-100000" algn="bl" rotWithShape="0"/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600">
                  <a:solidFill>
                    <a:srgbClr val="000000"/>
                  </a:solidFill>
                  <a:latin typeface="Arial" panose="020B0604020202020204" pitchFamily="34" charset="0"/>
                </a:rPr>
                <a:t>Pågående arbeid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3AE59FE1-D9D0-02ED-70A7-F1AFD7D27CA1}"/>
                </a:ext>
              </a:extLst>
            </p:cNvPr>
            <p:cNvSpPr/>
            <p:nvPr/>
          </p:nvSpPr>
          <p:spPr>
            <a:xfrm>
              <a:off x="1717498" y="1813378"/>
              <a:ext cx="1489842" cy="353694"/>
            </a:xfrm>
            <a:prstGeom prst="rect">
              <a:avLst/>
            </a:prstGeom>
            <a:solidFill>
              <a:srgbClr val="B6C8E9"/>
            </a:solidFill>
            <a:ln w="25400" cap="flat" cmpd="sng" algn="ctr">
              <a:noFill/>
              <a:prstDash val="solid"/>
            </a:ln>
            <a:effectLst>
              <a:reflection stA="0" endPos="0" dir="5400000" sy="-100000" algn="bl" rotWithShape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b-NO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8DBCD949-B847-F8F9-D3E0-34F8A06F136B}"/>
                </a:ext>
              </a:extLst>
            </p:cNvPr>
            <p:cNvSpPr/>
            <p:nvPr/>
          </p:nvSpPr>
          <p:spPr>
            <a:xfrm>
              <a:off x="1717498" y="2268672"/>
              <a:ext cx="1489842" cy="353694"/>
            </a:xfrm>
            <a:prstGeom prst="rect">
              <a:avLst/>
            </a:prstGeom>
            <a:solidFill>
              <a:srgbClr val="B6C8E9"/>
            </a:solidFill>
            <a:ln w="25400" cap="flat" cmpd="sng" algn="ctr">
              <a:noFill/>
              <a:prstDash val="solid"/>
            </a:ln>
            <a:effectLst>
              <a:reflection stA="0" endPos="0" dir="5400000" sy="-100000" algn="bl" rotWithShape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b-NO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1850C66A-C4F8-3B0C-605D-802898233350}"/>
                </a:ext>
              </a:extLst>
            </p:cNvPr>
            <p:cNvSpPr/>
            <p:nvPr/>
          </p:nvSpPr>
          <p:spPr>
            <a:xfrm>
              <a:off x="1717498" y="2723966"/>
              <a:ext cx="1489842" cy="353694"/>
            </a:xfrm>
            <a:prstGeom prst="rect">
              <a:avLst/>
            </a:prstGeom>
            <a:solidFill>
              <a:srgbClr val="B6C8E9"/>
            </a:solidFill>
            <a:ln w="25400" cap="flat" cmpd="sng" algn="ctr">
              <a:noFill/>
              <a:prstDash val="solid"/>
            </a:ln>
            <a:effectLst>
              <a:reflection stA="0" endPos="0" dir="5400000" sy="-100000" algn="bl" rotWithShape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b-NO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25600287-E5A9-7B73-54C5-370071937348}"/>
                </a:ext>
              </a:extLst>
            </p:cNvPr>
            <p:cNvSpPr/>
            <p:nvPr/>
          </p:nvSpPr>
          <p:spPr>
            <a:xfrm>
              <a:off x="1717498" y="3179260"/>
              <a:ext cx="1489842" cy="353694"/>
            </a:xfrm>
            <a:prstGeom prst="rect">
              <a:avLst/>
            </a:prstGeom>
            <a:solidFill>
              <a:srgbClr val="B6C8E9"/>
            </a:solidFill>
            <a:ln w="25400" cap="flat" cmpd="sng" algn="ctr">
              <a:noFill/>
              <a:prstDash val="solid"/>
            </a:ln>
            <a:effectLst>
              <a:reflection stA="0" endPos="0" dir="5400000" sy="-100000" algn="bl" rotWithShape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b-NO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92241797-D199-59AC-040F-BA67EB64C644}"/>
                </a:ext>
              </a:extLst>
            </p:cNvPr>
            <p:cNvSpPr/>
            <p:nvPr/>
          </p:nvSpPr>
          <p:spPr>
            <a:xfrm>
              <a:off x="1717498" y="3634554"/>
              <a:ext cx="1489842" cy="353694"/>
            </a:xfrm>
            <a:prstGeom prst="rect">
              <a:avLst/>
            </a:prstGeom>
            <a:solidFill>
              <a:srgbClr val="B6C8E9"/>
            </a:solidFill>
            <a:ln w="25400" cap="flat" cmpd="sng" algn="ctr">
              <a:noFill/>
              <a:prstDash val="solid"/>
            </a:ln>
            <a:effectLst>
              <a:reflection stA="0" endPos="0" dir="5400000" sy="-100000" algn="bl" rotWithShape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b-NO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0A84223A-CD94-75CB-494B-B54AC387672E}"/>
                </a:ext>
              </a:extLst>
            </p:cNvPr>
            <p:cNvSpPr/>
            <p:nvPr/>
          </p:nvSpPr>
          <p:spPr>
            <a:xfrm>
              <a:off x="1717498" y="4089848"/>
              <a:ext cx="1489842" cy="353694"/>
            </a:xfrm>
            <a:prstGeom prst="rect">
              <a:avLst/>
            </a:prstGeom>
            <a:solidFill>
              <a:srgbClr val="B6C8E9"/>
            </a:solidFill>
            <a:ln w="25400" cap="flat" cmpd="sng" algn="ctr">
              <a:noFill/>
              <a:prstDash val="solid"/>
            </a:ln>
            <a:effectLst>
              <a:reflection stA="0" endPos="0" dir="5400000" sy="-100000" algn="bl" rotWithShape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b-NO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2FFA2F7A-EAA3-BA6C-BDCE-C3AFF393E0A3}"/>
                </a:ext>
              </a:extLst>
            </p:cNvPr>
            <p:cNvSpPr/>
            <p:nvPr/>
          </p:nvSpPr>
          <p:spPr>
            <a:xfrm>
              <a:off x="1717498" y="4545142"/>
              <a:ext cx="1489842" cy="353694"/>
            </a:xfrm>
            <a:prstGeom prst="rect">
              <a:avLst/>
            </a:prstGeom>
            <a:solidFill>
              <a:srgbClr val="B6C8E9"/>
            </a:solidFill>
            <a:ln w="25400" cap="flat" cmpd="sng" algn="ctr">
              <a:noFill/>
              <a:prstDash val="solid"/>
            </a:ln>
            <a:effectLst>
              <a:reflection stA="0" endPos="0" dir="5400000" sy="-100000" algn="bl" rotWithShape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b-NO"/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FFCE0488-2F1A-9F65-C990-A208135A5420}"/>
                </a:ext>
              </a:extLst>
            </p:cNvPr>
            <p:cNvSpPr/>
            <p:nvPr/>
          </p:nvSpPr>
          <p:spPr>
            <a:xfrm>
              <a:off x="508000" y="1813378"/>
              <a:ext cx="1107898" cy="808988"/>
            </a:xfrm>
            <a:prstGeom prst="rect">
              <a:avLst/>
            </a:prstGeom>
            <a:solidFill>
              <a:srgbClr val="014693"/>
            </a:solidFill>
            <a:ln w="25400" cap="flat" cmpd="sng" algn="ctr">
              <a:noFill/>
              <a:prstDash val="solid"/>
            </a:ln>
            <a:effectLst>
              <a:reflection stA="0" endPos="0" dir="5400000" sy="-100000" algn="bl" rotWithShape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b-NO"/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B9F89864-9475-E91F-522C-1B61723E5B4C}"/>
                </a:ext>
              </a:extLst>
            </p:cNvPr>
            <p:cNvSpPr/>
            <p:nvPr/>
          </p:nvSpPr>
          <p:spPr>
            <a:xfrm>
              <a:off x="508000" y="2723966"/>
              <a:ext cx="1107898" cy="2174870"/>
            </a:xfrm>
            <a:prstGeom prst="rect">
              <a:avLst/>
            </a:prstGeom>
            <a:solidFill>
              <a:srgbClr val="014693"/>
            </a:solidFill>
            <a:ln w="25400" cap="flat" cmpd="sng" algn="ctr">
              <a:noFill/>
              <a:prstDash val="solid"/>
            </a:ln>
            <a:effectLst>
              <a:reflection stA="0" endPos="0" dir="5400000" sy="-100000" algn="bl" rotWithShape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b-NO"/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3F8D06CD-7C51-4084-5D81-3238CAF5521C}"/>
                </a:ext>
              </a:extLst>
            </p:cNvPr>
            <p:cNvSpPr/>
            <p:nvPr/>
          </p:nvSpPr>
          <p:spPr>
            <a:xfrm>
              <a:off x="508000" y="1434524"/>
              <a:ext cx="1120598" cy="15458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>
              <a:reflection stA="0" endPos="0" dir="5400000" sy="-100000" algn="bl" rotWithShape="0"/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1000">
                  <a:solidFill>
                    <a:srgbClr val="000000"/>
                  </a:solidFill>
                  <a:latin typeface="Arial" panose="020B0604020202020204" pitchFamily="34" charset="0"/>
                </a:rPr>
                <a:t>Prosessområde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E2012754-9738-6E22-7234-334DC649E3EC}"/>
                </a:ext>
              </a:extLst>
            </p:cNvPr>
            <p:cNvSpPr/>
            <p:nvPr/>
          </p:nvSpPr>
          <p:spPr>
            <a:xfrm>
              <a:off x="1717498" y="1434524"/>
              <a:ext cx="1502542" cy="15458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>
              <a:reflection stA="0" endPos="0" dir="5400000" sy="-100000" algn="bl" rotWithShape="0"/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1000">
                  <a:solidFill>
                    <a:srgbClr val="000000"/>
                  </a:solidFill>
                  <a:latin typeface="Arial" panose="020B0604020202020204" pitchFamily="34" charset="0"/>
                </a:rPr>
                <a:t>Overordnet risiko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A09F7776-5F3F-35E7-570F-201EFC604F40}"/>
                </a:ext>
              </a:extLst>
            </p:cNvPr>
            <p:cNvSpPr/>
            <p:nvPr/>
          </p:nvSpPr>
          <p:spPr>
            <a:xfrm>
              <a:off x="3308940" y="1434524"/>
              <a:ext cx="4015298" cy="15458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>
              <a:reflection stA="0" endPos="0" dir="5400000" sy="-100000" algn="bl" rotWithShape="0"/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1000">
                  <a:solidFill>
                    <a:srgbClr val="000000"/>
                  </a:solidFill>
                  <a:latin typeface="Arial" panose="020B0604020202020204" pitchFamily="34" charset="0"/>
                </a:rPr>
                <a:t>Forslag til overordnet tiltak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D1EB6BE7-D2DD-C8BB-214B-38C8ED8F5BDA}"/>
                </a:ext>
              </a:extLst>
            </p:cNvPr>
            <p:cNvSpPr/>
            <p:nvPr/>
          </p:nvSpPr>
          <p:spPr>
            <a:xfrm>
              <a:off x="7413138" y="1434524"/>
              <a:ext cx="621344" cy="15458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>
              <a:reflection stA="0" endPos="0" dir="5400000" sy="-100000" algn="bl" rotWithShape="0"/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1000">
                  <a:solidFill>
                    <a:srgbClr val="000000"/>
                  </a:solidFill>
                  <a:latin typeface="Arial" panose="020B0604020202020204" pitchFamily="34" charset="0"/>
                </a:rPr>
                <a:t>Når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45A5B91D-1B8B-98FE-C622-8B62D889B405}"/>
                </a:ext>
              </a:extLst>
            </p:cNvPr>
            <p:cNvSpPr/>
            <p:nvPr/>
          </p:nvSpPr>
          <p:spPr>
            <a:xfrm>
              <a:off x="1768298" y="1940566"/>
              <a:ext cx="1400942" cy="11201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>
              <a:reflection stA="0" endPos="0" dir="5400000" sy="-100000" algn="bl" rotWithShape="0"/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700">
                  <a:solidFill>
                    <a:srgbClr val="000000"/>
                  </a:solidFill>
                  <a:latin typeface="Arial" panose="020B0604020202020204" pitchFamily="34" charset="0"/>
                </a:rPr>
                <a:t>Tekniske utfordringer TOA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33876578-AD16-77D1-A957-5FC104FDCBF6}"/>
                </a:ext>
              </a:extLst>
            </p:cNvPr>
            <p:cNvSpPr/>
            <p:nvPr/>
          </p:nvSpPr>
          <p:spPr>
            <a:xfrm>
              <a:off x="1768298" y="2395860"/>
              <a:ext cx="1400942" cy="11201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>
              <a:reflection stA="0" endPos="0" dir="5400000" sy="-100000" algn="bl" rotWithShape="0"/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700">
                  <a:solidFill>
                    <a:srgbClr val="000000"/>
                  </a:solidFill>
                  <a:latin typeface="Arial" panose="020B0604020202020204" pitchFamily="34" charset="0"/>
                </a:rPr>
                <a:t>Utfordringer ToA Datakvalitet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6139725E-1648-DCDF-795A-3C5D8A51C2C0}"/>
                </a:ext>
              </a:extLst>
            </p:cNvPr>
            <p:cNvSpPr/>
            <p:nvPr/>
          </p:nvSpPr>
          <p:spPr>
            <a:xfrm>
              <a:off x="1768298" y="2801495"/>
              <a:ext cx="1400942" cy="21133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>
              <a:reflection stA="0" endPos="0" dir="5400000" sy="-100000" algn="bl" rotWithShape="0"/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700">
                  <a:solidFill>
                    <a:srgbClr val="000000"/>
                  </a:solidFill>
                  <a:latin typeface="Arial" panose="020B0604020202020204" pitchFamily="34" charset="0"/>
                </a:rPr>
                <a:t>Utfordringer knyttet til</a:t>
              </a:r>
              <a:br>
                <a:rPr lang="nb-NO" sz="700">
                  <a:solidFill>
                    <a:srgbClr val="000000"/>
                  </a:solidFill>
                  <a:latin typeface="Arial" panose="020B0604020202020204" pitchFamily="34" charset="0"/>
                </a:rPr>
              </a:br>
              <a:r>
                <a:rPr lang="nb-NO" sz="700">
                  <a:solidFill>
                    <a:srgbClr val="000000"/>
                  </a:solidFill>
                  <a:latin typeface="Arial" panose="020B0604020202020204" pitchFamily="34" charset="0"/>
                </a:rPr>
                <a:t>arbeidsfordeling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6C3BE45A-ED39-8887-AF16-B787AF3954A5}"/>
                </a:ext>
              </a:extLst>
            </p:cNvPr>
            <p:cNvSpPr/>
            <p:nvPr/>
          </p:nvSpPr>
          <p:spPr>
            <a:xfrm>
              <a:off x="1768298" y="3256789"/>
              <a:ext cx="1400942" cy="21133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>
              <a:reflection stA="0" endPos="0" dir="5400000" sy="-100000" algn="bl" rotWithShape="0"/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700">
                  <a:solidFill>
                    <a:srgbClr val="000000"/>
                  </a:solidFill>
                  <a:latin typeface="Arial" panose="020B0604020202020204" pitchFamily="34" charset="0"/>
                </a:rPr>
                <a:t>Utfordringer knyttet til</a:t>
              </a:r>
              <a:br>
                <a:rPr lang="nb-NO" sz="700">
                  <a:solidFill>
                    <a:srgbClr val="000000"/>
                  </a:solidFill>
                  <a:latin typeface="Arial" panose="020B0604020202020204" pitchFamily="34" charset="0"/>
                </a:rPr>
              </a:br>
              <a:r>
                <a:rPr lang="nb-NO" sz="700">
                  <a:solidFill>
                    <a:srgbClr val="000000"/>
                  </a:solidFill>
                  <a:latin typeface="Arial" panose="020B0604020202020204" pitchFamily="34" charset="0"/>
                </a:rPr>
                <a:t>godkjenningsstruktur</a:t>
              </a: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0859B2A2-C3E7-2F46-7D08-0FD3B4C1B334}"/>
                </a:ext>
              </a:extLst>
            </p:cNvPr>
            <p:cNvSpPr/>
            <p:nvPr/>
          </p:nvSpPr>
          <p:spPr>
            <a:xfrm>
              <a:off x="1768298" y="3712083"/>
              <a:ext cx="1400942" cy="21133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>
              <a:reflection stA="0" endPos="0" dir="5400000" sy="-100000" algn="bl" rotWithShape="0"/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700">
                  <a:solidFill>
                    <a:srgbClr val="000000"/>
                  </a:solidFill>
                  <a:latin typeface="Arial" panose="020B0604020202020204" pitchFamily="34" charset="0"/>
                </a:rPr>
                <a:t>Utfordringer knyttet til </a:t>
              </a:r>
              <a:br>
                <a:rPr lang="nb-NO" sz="700">
                  <a:solidFill>
                    <a:srgbClr val="000000"/>
                  </a:solidFill>
                  <a:latin typeface="Arial" panose="020B0604020202020204" pitchFamily="34" charset="0"/>
                </a:rPr>
              </a:br>
              <a:r>
                <a:rPr lang="nb-NO" sz="700">
                  <a:solidFill>
                    <a:srgbClr val="000000"/>
                  </a:solidFill>
                  <a:latin typeface="Arial" panose="020B0604020202020204" pitchFamily="34" charset="0"/>
                </a:rPr>
                <a:t>Reise/refusjon til eksterne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2745495B-5243-3E11-CB03-8A91C0BFFF67}"/>
                </a:ext>
              </a:extLst>
            </p:cNvPr>
            <p:cNvSpPr/>
            <p:nvPr/>
          </p:nvSpPr>
          <p:spPr>
            <a:xfrm>
              <a:off x="1768298" y="4167377"/>
              <a:ext cx="1400942" cy="21133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>
              <a:reflection stA="0" endPos="0" dir="5400000" sy="-100000" algn="bl" rotWithShape="0"/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600">
                  <a:solidFill>
                    <a:srgbClr val="000000"/>
                  </a:solidFill>
                  <a:latin typeface="Arial" panose="020B0604020202020204" pitchFamily="34" charset="0"/>
                </a:rPr>
                <a:t>Opplevelse av manglende tilgang</a:t>
              </a:r>
              <a:br>
                <a:rPr lang="nb-NO" sz="600">
                  <a:solidFill>
                    <a:srgbClr val="000000"/>
                  </a:solidFill>
                  <a:latin typeface="Arial" panose="020B0604020202020204" pitchFamily="34" charset="0"/>
                </a:rPr>
              </a:br>
              <a:r>
                <a:rPr lang="nb-NO" sz="600">
                  <a:solidFill>
                    <a:srgbClr val="000000"/>
                  </a:solidFill>
                  <a:latin typeface="Arial" panose="020B0604020202020204" pitchFamily="34" charset="0"/>
                </a:rPr>
                <a:t>til lønnsdata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0344D8A8-E419-20E5-B12F-0D3F9A98B475}"/>
                </a:ext>
              </a:extLst>
            </p:cNvPr>
            <p:cNvSpPr/>
            <p:nvPr/>
          </p:nvSpPr>
          <p:spPr>
            <a:xfrm>
              <a:off x="1768298" y="4672330"/>
              <a:ext cx="1400942" cy="11201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>
              <a:reflection stA="0" endPos="0" dir="5400000" sy="-100000" algn="bl" rotWithShape="0"/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700">
                  <a:solidFill>
                    <a:srgbClr val="000000"/>
                  </a:solidFill>
                  <a:latin typeface="Arial" panose="020B0604020202020204" pitchFamily="34" charset="0"/>
                </a:rPr>
                <a:t>Annet</a:t>
              </a: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6A6B83D9-7476-8D3F-B6A4-DF6499C52445}"/>
                </a:ext>
              </a:extLst>
            </p:cNvPr>
            <p:cNvSpPr/>
            <p:nvPr/>
          </p:nvSpPr>
          <p:spPr>
            <a:xfrm>
              <a:off x="558800" y="2139836"/>
              <a:ext cx="1018998" cy="16877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>
              <a:reflection stA="0" endPos="0" dir="5400000" sy="-100000" algn="bl" rotWithShape="0"/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1100">
                  <a:solidFill>
                    <a:srgbClr val="FFFFFF"/>
                  </a:solidFill>
                  <a:latin typeface="Arial" panose="020B0604020202020204" pitchFamily="34" charset="0"/>
                </a:rPr>
                <a:t>TOA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CE5474B2-5674-9164-277C-2456CA9CF420}"/>
                </a:ext>
              </a:extLst>
            </p:cNvPr>
            <p:cNvSpPr/>
            <p:nvPr/>
          </p:nvSpPr>
          <p:spPr>
            <a:xfrm>
              <a:off x="558800" y="3733366"/>
              <a:ext cx="1018998" cy="16877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>
              <a:reflection stA="0" endPos="0" dir="5400000" sy="-100000" algn="bl" rotWithShape="0"/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1100">
                  <a:solidFill>
                    <a:srgbClr val="FFFFFF"/>
                  </a:solidFill>
                  <a:latin typeface="Arial" panose="020B0604020202020204" pitchFamily="34" charset="0"/>
                </a:rPr>
                <a:t>Felles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4AECB510-B58D-F53A-94FB-A23C37C1C783}"/>
              </a:ext>
            </a:extLst>
          </p:cNvPr>
          <p:cNvGrpSpPr/>
          <p:nvPr/>
        </p:nvGrpSpPr>
        <p:grpSpPr>
          <a:xfrm>
            <a:off x="5394472" y="53221"/>
            <a:ext cx="3468915" cy="241048"/>
            <a:chOff x="735389" y="1814286"/>
            <a:chExt cx="4634895" cy="295124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B042356E-2E68-15D8-CE14-3324E5DA7054}"/>
                </a:ext>
              </a:extLst>
            </p:cNvPr>
            <p:cNvSpPr/>
            <p:nvPr/>
          </p:nvSpPr>
          <p:spPr>
            <a:xfrm>
              <a:off x="735389" y="1814286"/>
              <a:ext cx="1129429" cy="295124"/>
            </a:xfrm>
            <a:prstGeom prst="rect">
              <a:avLst/>
            </a:prstGeom>
            <a:noFill/>
            <a:ln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600">
                  <a:solidFill>
                    <a:schemeClr val="tx1"/>
                  </a:solidFill>
                </a:rPr>
                <a:t>Økonomi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B503B56A-B325-0B72-A943-008F17615A43}"/>
                </a:ext>
              </a:extLst>
            </p:cNvPr>
            <p:cNvSpPr/>
            <p:nvPr/>
          </p:nvSpPr>
          <p:spPr>
            <a:xfrm>
              <a:off x="1903878" y="1814286"/>
              <a:ext cx="1129429" cy="295124"/>
            </a:xfrm>
            <a:prstGeom prst="rect">
              <a:avLst/>
            </a:prstGeom>
            <a:noFill/>
            <a:ln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600">
                  <a:solidFill>
                    <a:schemeClr val="tx1"/>
                  </a:solidFill>
                </a:rPr>
                <a:t>Virksomhetsstyring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EBDC1C7-FB34-6117-8F4B-85ACCB86BEFC}"/>
                </a:ext>
              </a:extLst>
            </p:cNvPr>
            <p:cNvSpPr/>
            <p:nvPr/>
          </p:nvSpPr>
          <p:spPr>
            <a:xfrm>
              <a:off x="3072367" y="1814286"/>
              <a:ext cx="1129429" cy="295124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600">
                  <a:solidFill>
                    <a:schemeClr val="tx1"/>
                  </a:solidFill>
                </a:rPr>
                <a:t>HR /Tjenestesenter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397ED44-32C6-D58E-1109-916789B43C06}"/>
                </a:ext>
              </a:extLst>
            </p:cNvPr>
            <p:cNvSpPr/>
            <p:nvPr/>
          </p:nvSpPr>
          <p:spPr>
            <a:xfrm>
              <a:off x="4240855" y="1814286"/>
              <a:ext cx="1129429" cy="295124"/>
            </a:xfrm>
            <a:prstGeom prst="rect">
              <a:avLst/>
            </a:prstGeom>
            <a:noFill/>
            <a:ln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600">
                  <a:solidFill>
                    <a:schemeClr val="tx1"/>
                  </a:solidFill>
                </a:rPr>
                <a:t>Felles</a:t>
              </a:r>
            </a:p>
          </p:txBody>
        </p:sp>
      </p:grpSp>
      <p:sp>
        <p:nvSpPr>
          <p:cNvPr id="7" name="Rectangle 31">
            <a:extLst>
              <a:ext uri="{FF2B5EF4-FFF2-40B4-BE49-F238E27FC236}">
                <a16:creationId xmlns:a16="http://schemas.microsoft.com/office/drawing/2014/main" id="{78CD56D7-08AE-19A6-5D57-77BA3B950D03}"/>
              </a:ext>
            </a:extLst>
          </p:cNvPr>
          <p:cNvSpPr/>
          <p:nvPr/>
        </p:nvSpPr>
        <p:spPr>
          <a:xfrm>
            <a:off x="7451238" y="1604820"/>
            <a:ext cx="621344" cy="15458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000">
                <a:solidFill>
                  <a:srgbClr val="0C4789"/>
                </a:solidFill>
                <a:latin typeface="Arial" panose="020B0604020202020204" pitchFamily="34" charset="0"/>
              </a:rPr>
              <a:t>Status</a:t>
            </a:r>
          </a:p>
        </p:txBody>
      </p:sp>
      <p:sp>
        <p:nvSpPr>
          <p:cNvPr id="51" name="Rectangle 17">
            <a:extLst>
              <a:ext uri="{FF2B5EF4-FFF2-40B4-BE49-F238E27FC236}">
                <a16:creationId xmlns:a16="http://schemas.microsoft.com/office/drawing/2014/main" id="{69125AC6-084A-36BC-B36A-392E857978CD}"/>
              </a:ext>
            </a:extLst>
          </p:cNvPr>
          <p:cNvSpPr/>
          <p:nvPr/>
        </p:nvSpPr>
        <p:spPr>
          <a:xfrm>
            <a:off x="7577797" y="1795186"/>
            <a:ext cx="608644" cy="12700"/>
          </a:xfrm>
          <a:prstGeom prst="rect">
            <a:avLst/>
          </a:prstGeom>
          <a:solidFill>
            <a:srgbClr val="000000"/>
          </a:solidFill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solidFill>
                <a:srgbClr val="0C4789"/>
              </a:solidFill>
            </a:endParaRPr>
          </a:p>
        </p:txBody>
      </p:sp>
      <p:sp>
        <p:nvSpPr>
          <p:cNvPr id="52" name="Rectangle 20">
            <a:extLst>
              <a:ext uri="{FF2B5EF4-FFF2-40B4-BE49-F238E27FC236}">
                <a16:creationId xmlns:a16="http://schemas.microsoft.com/office/drawing/2014/main" id="{52D5D709-FC8B-BF55-AA66-9AF6325D9CFB}"/>
              </a:ext>
            </a:extLst>
          </p:cNvPr>
          <p:cNvSpPr/>
          <p:nvPr/>
        </p:nvSpPr>
        <p:spPr>
          <a:xfrm>
            <a:off x="7564148" y="2123835"/>
            <a:ext cx="621344" cy="18295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600" dirty="0">
                <a:solidFill>
                  <a:srgbClr val="0C4789"/>
                </a:solidFill>
                <a:latin typeface="Arial" panose="020B0604020202020204" pitchFamily="34" charset="0"/>
              </a:rPr>
              <a:t>TOA </a:t>
            </a:r>
            <a:r>
              <a:rPr lang="nb-NO" sz="600" dirty="0" err="1">
                <a:solidFill>
                  <a:srgbClr val="0C4789"/>
                </a:solidFill>
                <a:latin typeface="Arial" panose="020B0604020202020204" pitchFamily="34" charset="0"/>
              </a:rPr>
              <a:t>task</a:t>
            </a:r>
            <a:r>
              <a:rPr lang="nb-NO" sz="600" dirty="0">
                <a:solidFill>
                  <a:srgbClr val="0C4789"/>
                </a:solidFill>
                <a:latin typeface="Arial" panose="020B0604020202020204" pitchFamily="34" charset="0"/>
              </a:rPr>
              <a:t> force etablert DFØ – BOTT. </a:t>
            </a:r>
          </a:p>
        </p:txBody>
      </p:sp>
      <p:sp>
        <p:nvSpPr>
          <p:cNvPr id="54" name="Rectangle 20">
            <a:extLst>
              <a:ext uri="{FF2B5EF4-FFF2-40B4-BE49-F238E27FC236}">
                <a16:creationId xmlns:a16="http://schemas.microsoft.com/office/drawing/2014/main" id="{76BE05B4-E175-D52A-EBD4-0A2ADB84C3CA}"/>
              </a:ext>
            </a:extLst>
          </p:cNvPr>
          <p:cNvSpPr/>
          <p:nvPr/>
        </p:nvSpPr>
        <p:spPr>
          <a:xfrm>
            <a:off x="7564148" y="2822019"/>
            <a:ext cx="621344" cy="18295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600" dirty="0">
                <a:solidFill>
                  <a:srgbClr val="0C4789"/>
                </a:solidFill>
                <a:latin typeface="Arial" panose="020B0604020202020204" pitchFamily="34" charset="0"/>
              </a:rPr>
              <a:t>Løpende arbeid tjenestesenter – enheter. Jobbes med SLA</a:t>
            </a:r>
          </a:p>
        </p:txBody>
      </p:sp>
      <p:sp>
        <p:nvSpPr>
          <p:cNvPr id="55" name="Rectangle 20">
            <a:extLst>
              <a:ext uri="{FF2B5EF4-FFF2-40B4-BE49-F238E27FC236}">
                <a16:creationId xmlns:a16="http://schemas.microsoft.com/office/drawing/2014/main" id="{4B03F160-DA4C-A3B0-580D-278EE600E3CC}"/>
              </a:ext>
            </a:extLst>
          </p:cNvPr>
          <p:cNvSpPr/>
          <p:nvPr/>
        </p:nvSpPr>
        <p:spPr>
          <a:xfrm>
            <a:off x="7556168" y="4115430"/>
            <a:ext cx="845304" cy="32980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600" dirty="0">
                <a:solidFill>
                  <a:srgbClr val="0C4789"/>
                </a:solidFill>
                <a:latin typeface="Arial" panose="020B0604020202020204" pitchFamily="34" charset="0"/>
              </a:rPr>
              <a:t>Gjennomført møter med alle fakultetene om Innsikt</a:t>
            </a:r>
          </a:p>
        </p:txBody>
      </p:sp>
      <p:sp>
        <p:nvSpPr>
          <p:cNvPr id="56" name="Rectangle 20">
            <a:extLst>
              <a:ext uri="{FF2B5EF4-FFF2-40B4-BE49-F238E27FC236}">
                <a16:creationId xmlns:a16="http://schemas.microsoft.com/office/drawing/2014/main" id="{5B84837F-15B2-9378-4B93-145D5FDE1956}"/>
              </a:ext>
            </a:extLst>
          </p:cNvPr>
          <p:cNvSpPr/>
          <p:nvPr/>
        </p:nvSpPr>
        <p:spPr>
          <a:xfrm>
            <a:off x="7564148" y="4678254"/>
            <a:ext cx="621344" cy="18295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600" dirty="0">
                <a:solidFill>
                  <a:srgbClr val="0C4789"/>
                </a:solidFill>
                <a:latin typeface="Arial" panose="020B0604020202020204" pitchFamily="34" charset="0"/>
              </a:rPr>
              <a:t>Ikke løsning i SAP, jobbes med  intern rutine</a:t>
            </a:r>
          </a:p>
        </p:txBody>
      </p:sp>
      <p:sp>
        <p:nvSpPr>
          <p:cNvPr id="57" name="Rectangle 20">
            <a:extLst>
              <a:ext uri="{FF2B5EF4-FFF2-40B4-BE49-F238E27FC236}">
                <a16:creationId xmlns:a16="http://schemas.microsoft.com/office/drawing/2014/main" id="{E9049B85-629B-E205-1A58-DA1CC9501FE9}"/>
              </a:ext>
            </a:extLst>
          </p:cNvPr>
          <p:cNvSpPr/>
          <p:nvPr/>
        </p:nvSpPr>
        <p:spPr>
          <a:xfrm>
            <a:off x="7564148" y="3253187"/>
            <a:ext cx="621344" cy="18295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600" dirty="0">
                <a:solidFill>
                  <a:srgbClr val="0C4789"/>
                </a:solidFill>
                <a:latin typeface="Arial" panose="020B0604020202020204" pitchFamily="34" charset="0"/>
              </a:rPr>
              <a:t>Løpende arbeid tjenestesenter - enheter</a:t>
            </a:r>
          </a:p>
        </p:txBody>
      </p:sp>
      <p:sp>
        <p:nvSpPr>
          <p:cNvPr id="58" name="Rectangle 20">
            <a:extLst>
              <a:ext uri="{FF2B5EF4-FFF2-40B4-BE49-F238E27FC236}">
                <a16:creationId xmlns:a16="http://schemas.microsoft.com/office/drawing/2014/main" id="{C3E2AB2D-ABCC-703E-0D6B-E6BCFED50ADB}"/>
              </a:ext>
            </a:extLst>
          </p:cNvPr>
          <p:cNvSpPr/>
          <p:nvPr/>
        </p:nvSpPr>
        <p:spPr>
          <a:xfrm>
            <a:off x="7556168" y="3793376"/>
            <a:ext cx="621344" cy="18295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600" dirty="0">
                <a:solidFill>
                  <a:srgbClr val="0C4789"/>
                </a:solidFill>
                <a:latin typeface="Arial" panose="020B0604020202020204" pitchFamily="34" charset="0"/>
              </a:rPr>
              <a:t>Innført</a:t>
            </a:r>
          </a:p>
        </p:txBody>
      </p:sp>
      <p:sp>
        <p:nvSpPr>
          <p:cNvPr id="53" name="Høyre klammeparentes 52">
            <a:extLst>
              <a:ext uri="{FF2B5EF4-FFF2-40B4-BE49-F238E27FC236}">
                <a16:creationId xmlns:a16="http://schemas.microsoft.com/office/drawing/2014/main" id="{DCD88444-0385-AE7A-C421-20DCF7993490}"/>
              </a:ext>
            </a:extLst>
          </p:cNvPr>
          <p:cNvSpPr/>
          <p:nvPr/>
        </p:nvSpPr>
        <p:spPr>
          <a:xfrm>
            <a:off x="7313318" y="1910949"/>
            <a:ext cx="79369" cy="91107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592349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2E89A14-DF48-8F38-617C-81664AD2F4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2E89A14-DF48-8F38-617C-81664AD2F4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88CDA1A3-6C21-2F9E-2937-88F080F5C2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17" y="370981"/>
            <a:ext cx="7615382" cy="463846"/>
          </a:xfrm>
        </p:spPr>
        <p:txBody>
          <a:bodyPr vert="horz"/>
          <a:lstStyle/>
          <a:p>
            <a:r>
              <a:rPr lang="nb-NO" sz="2400"/>
              <a:t>Oversikt </a:t>
            </a:r>
            <a:r>
              <a:rPr lang="nb-NO" sz="2400" err="1"/>
              <a:t>hovedrisikoer</a:t>
            </a:r>
            <a:r>
              <a:rPr lang="nb-NO" sz="2400"/>
              <a:t> med forslag til tiltak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1166260-1D84-CEA2-5FC1-D16376370F68}"/>
              </a:ext>
            </a:extLst>
          </p:cNvPr>
          <p:cNvSpPr/>
          <p:nvPr/>
        </p:nvSpPr>
        <p:spPr>
          <a:xfrm>
            <a:off x="39717" y="1622071"/>
            <a:ext cx="1790323" cy="12700"/>
          </a:xfrm>
          <a:prstGeom prst="rect">
            <a:avLst/>
          </a:prstGeom>
          <a:solidFill>
            <a:srgbClr val="000000"/>
          </a:solidFill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97ADAEA-ECA1-C66F-B7E3-402BD82D21B3}"/>
              </a:ext>
            </a:extLst>
          </p:cNvPr>
          <p:cNvSpPr/>
          <p:nvPr/>
        </p:nvSpPr>
        <p:spPr>
          <a:xfrm>
            <a:off x="1931640" y="1622071"/>
            <a:ext cx="4777514" cy="12700"/>
          </a:xfrm>
          <a:prstGeom prst="rect">
            <a:avLst/>
          </a:prstGeom>
          <a:solidFill>
            <a:srgbClr val="000000"/>
          </a:solidFill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78365C0-00CC-7A68-0FF1-96147EBE01F0}"/>
              </a:ext>
            </a:extLst>
          </p:cNvPr>
          <p:cNvSpPr/>
          <p:nvPr/>
        </p:nvSpPr>
        <p:spPr>
          <a:xfrm>
            <a:off x="1931640" y="1964045"/>
            <a:ext cx="4790214" cy="9782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  <a:t>Det settes igang et prosjekt for å se på denn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7379BCF-0F33-42F4-FF73-7BAD60C4012D}"/>
              </a:ext>
            </a:extLst>
          </p:cNvPr>
          <p:cNvSpPr/>
          <p:nvPr/>
        </p:nvSpPr>
        <p:spPr>
          <a:xfrm>
            <a:off x="1931640" y="2606123"/>
            <a:ext cx="4790214" cy="9783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  <a:t>Vurdere behov for oppfølging av spesifikke fakulte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F389938-E506-FB4D-EB8F-63B4027C4A13}"/>
              </a:ext>
            </a:extLst>
          </p:cNvPr>
          <p:cNvSpPr/>
          <p:nvPr/>
        </p:nvSpPr>
        <p:spPr>
          <a:xfrm>
            <a:off x="1931640" y="3163071"/>
            <a:ext cx="4790214" cy="26808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  <a:t>Det igangsettes et pilotprosjekt tilknyttet gevinstrealisering som vil ta for seg enkeltelementer som kan forbedre kapasitetsutfordringer</a:t>
            </a:r>
          </a:p>
          <a:p>
            <a: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  <a:t>Diskutere med fakultetene hvilke spesifikke tiltak som kan iverksettes</a:t>
            </a:r>
          </a:p>
          <a:p>
            <a: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  <a:t>Pågående prosess for EU-området, Kapasitetsutfordringer må tas opp med lokal ledels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DDA60F7-A90E-4403-6BB2-82B4FD6852FF}"/>
              </a:ext>
            </a:extLst>
          </p:cNvPr>
          <p:cNvSpPr/>
          <p:nvPr/>
        </p:nvSpPr>
        <p:spPr>
          <a:xfrm>
            <a:off x="1931640" y="3890279"/>
            <a:ext cx="4790214" cy="9783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  <a:t>Utarbeide Wikiside for økonomi og lønn forvaltning. Etablere kanalstrategi. Beskrive prosess for innmeldingsforslag.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D19E201-F380-80F0-976A-C851E7EF8211}"/>
              </a:ext>
            </a:extLst>
          </p:cNvPr>
          <p:cNvSpPr/>
          <p:nvPr/>
        </p:nvSpPr>
        <p:spPr>
          <a:xfrm>
            <a:off x="1931640" y="4489793"/>
            <a:ext cx="4790214" cy="18295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  <a:t>Kortsiktig: Tydeliggjøre ansvarsfordeling sentralt og lokalt</a:t>
            </a:r>
          </a:p>
          <a:p>
            <a: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  <a:t>Langsiktig: Utrede muligheter for samarbeid i BOTT-samarbeidet og muligheter for DFØ til å levere 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831C716-0A11-A11E-DC46-41329EFC323F}"/>
              </a:ext>
            </a:extLst>
          </p:cNvPr>
          <p:cNvSpPr/>
          <p:nvPr/>
        </p:nvSpPr>
        <p:spPr>
          <a:xfrm>
            <a:off x="6810754" y="1622071"/>
            <a:ext cx="742745" cy="12700"/>
          </a:xfrm>
          <a:prstGeom prst="rect">
            <a:avLst/>
          </a:prstGeom>
          <a:solidFill>
            <a:srgbClr val="000000"/>
          </a:solidFill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09712A9-31BE-01DC-64B9-9FFB310CD8CA}"/>
              </a:ext>
            </a:extLst>
          </p:cNvPr>
          <p:cNvSpPr/>
          <p:nvPr/>
        </p:nvSpPr>
        <p:spPr>
          <a:xfrm>
            <a:off x="6810754" y="1964045"/>
            <a:ext cx="755445" cy="9782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  <a:t>Pågående arbeid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EFA6976-A752-8A9A-10EA-7BC852A7C506}"/>
              </a:ext>
            </a:extLst>
          </p:cNvPr>
          <p:cNvSpPr/>
          <p:nvPr/>
        </p:nvSpPr>
        <p:spPr>
          <a:xfrm>
            <a:off x="6810754" y="2606123"/>
            <a:ext cx="755445" cy="9783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  <a:t>Q2 / Q3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69972AA-07B3-AAF7-CF64-0FE84E5EECC3}"/>
              </a:ext>
            </a:extLst>
          </p:cNvPr>
          <p:cNvSpPr/>
          <p:nvPr/>
        </p:nvSpPr>
        <p:spPr>
          <a:xfrm>
            <a:off x="6810754" y="3248201"/>
            <a:ext cx="755445" cy="9783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  <a:t>Pågående arbeid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1D14A6F-00CC-E67F-E426-6F64DC656E3A}"/>
              </a:ext>
            </a:extLst>
          </p:cNvPr>
          <p:cNvSpPr/>
          <p:nvPr/>
        </p:nvSpPr>
        <p:spPr>
          <a:xfrm>
            <a:off x="6810754" y="3890279"/>
            <a:ext cx="755445" cy="9783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  <a:t>Pågående arbeid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E10B567-F7F5-BDB5-8CA2-13A6AFCAF953}"/>
              </a:ext>
            </a:extLst>
          </p:cNvPr>
          <p:cNvSpPr/>
          <p:nvPr/>
        </p:nvSpPr>
        <p:spPr>
          <a:xfrm>
            <a:off x="6810754" y="4532357"/>
            <a:ext cx="755445" cy="9783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600">
                <a:solidFill>
                  <a:srgbClr val="000000"/>
                </a:solidFill>
                <a:latin typeface="Arial" panose="020B0604020202020204" pitchFamily="34" charset="0"/>
              </a:rPr>
              <a:t>Pågående arbeid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218BFE3-B8F6-6D9F-69C9-336968585DA4}"/>
              </a:ext>
            </a:extLst>
          </p:cNvPr>
          <p:cNvSpPr/>
          <p:nvPr/>
        </p:nvSpPr>
        <p:spPr>
          <a:xfrm>
            <a:off x="39717" y="1736371"/>
            <a:ext cx="1790323" cy="540478"/>
          </a:xfrm>
          <a:prstGeom prst="rect">
            <a:avLst/>
          </a:prstGeom>
          <a:solidFill>
            <a:srgbClr val="B6C8E9"/>
          </a:solidFill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7BD888E-145D-46EC-CB9F-3C5C2981D6D6}"/>
              </a:ext>
            </a:extLst>
          </p:cNvPr>
          <p:cNvSpPr/>
          <p:nvPr/>
        </p:nvSpPr>
        <p:spPr>
          <a:xfrm>
            <a:off x="39717" y="2378449"/>
            <a:ext cx="1790323" cy="540478"/>
          </a:xfrm>
          <a:prstGeom prst="rect">
            <a:avLst/>
          </a:prstGeom>
          <a:solidFill>
            <a:srgbClr val="B6C8E9"/>
          </a:solidFill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6BBC198-1636-3DEA-B7B3-AE80F66E51A2}"/>
              </a:ext>
            </a:extLst>
          </p:cNvPr>
          <p:cNvSpPr/>
          <p:nvPr/>
        </p:nvSpPr>
        <p:spPr>
          <a:xfrm>
            <a:off x="39717" y="3020527"/>
            <a:ext cx="1790323" cy="540478"/>
          </a:xfrm>
          <a:prstGeom prst="rect">
            <a:avLst/>
          </a:prstGeom>
          <a:solidFill>
            <a:srgbClr val="B6C8E9"/>
          </a:solidFill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BB7FB45-883A-30A0-7A16-BEB32B53D837}"/>
              </a:ext>
            </a:extLst>
          </p:cNvPr>
          <p:cNvSpPr/>
          <p:nvPr/>
        </p:nvSpPr>
        <p:spPr>
          <a:xfrm>
            <a:off x="39717" y="3662605"/>
            <a:ext cx="1790323" cy="540478"/>
          </a:xfrm>
          <a:prstGeom prst="rect">
            <a:avLst/>
          </a:prstGeom>
          <a:solidFill>
            <a:srgbClr val="B6C8E9"/>
          </a:solidFill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5F19234-70CC-D301-5D1E-FC4B016CC3ED}"/>
              </a:ext>
            </a:extLst>
          </p:cNvPr>
          <p:cNvSpPr/>
          <p:nvPr/>
        </p:nvSpPr>
        <p:spPr>
          <a:xfrm>
            <a:off x="39717" y="4304683"/>
            <a:ext cx="1790323" cy="540478"/>
          </a:xfrm>
          <a:prstGeom prst="rect">
            <a:avLst/>
          </a:prstGeom>
          <a:solidFill>
            <a:srgbClr val="B6C8E9"/>
          </a:solidFill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C181B6C-EC56-E488-F91F-0C3EFB816FCE}"/>
              </a:ext>
            </a:extLst>
          </p:cNvPr>
          <p:cNvSpPr/>
          <p:nvPr/>
        </p:nvSpPr>
        <p:spPr>
          <a:xfrm>
            <a:off x="39717" y="1369183"/>
            <a:ext cx="1803023" cy="15458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000">
                <a:solidFill>
                  <a:srgbClr val="000000"/>
                </a:solidFill>
                <a:latin typeface="Arial" panose="020B0604020202020204" pitchFamily="34" charset="0"/>
              </a:rPr>
              <a:t>Overordnet risiko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32586CF-1A0E-8F50-B804-4587E2BEC794}"/>
              </a:ext>
            </a:extLst>
          </p:cNvPr>
          <p:cNvSpPr/>
          <p:nvPr/>
        </p:nvSpPr>
        <p:spPr>
          <a:xfrm>
            <a:off x="1931640" y="1369183"/>
            <a:ext cx="4790214" cy="15458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000">
                <a:solidFill>
                  <a:srgbClr val="000000"/>
                </a:solidFill>
                <a:latin typeface="Arial" panose="020B0604020202020204" pitchFamily="34" charset="0"/>
              </a:rPr>
              <a:t>Forslag til overordnet tiltak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D056245-55E3-36B5-410E-30E8F83F1A77}"/>
              </a:ext>
            </a:extLst>
          </p:cNvPr>
          <p:cNvSpPr/>
          <p:nvPr/>
        </p:nvSpPr>
        <p:spPr>
          <a:xfrm>
            <a:off x="6810754" y="1382693"/>
            <a:ext cx="755445" cy="15458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000">
                <a:solidFill>
                  <a:srgbClr val="000000"/>
                </a:solidFill>
                <a:latin typeface="Arial" panose="020B0604020202020204" pitchFamily="34" charset="0"/>
              </a:rPr>
              <a:t>Når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1A59F19-E2B7-ABE9-3E80-52147DF5ED8A}"/>
              </a:ext>
            </a:extLst>
          </p:cNvPr>
          <p:cNvSpPr/>
          <p:nvPr/>
        </p:nvSpPr>
        <p:spPr>
          <a:xfrm>
            <a:off x="90517" y="1956951"/>
            <a:ext cx="1701423" cy="11201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700">
                <a:solidFill>
                  <a:srgbClr val="000000"/>
                </a:solidFill>
                <a:latin typeface="Arial" panose="020B0604020202020204" pitchFamily="34" charset="0"/>
              </a:rPr>
              <a:t>Utfordringer knyttet til BDM Struktur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C580C43-3DB5-58B3-776F-1AA1BBE1B159}"/>
              </a:ext>
            </a:extLst>
          </p:cNvPr>
          <p:cNvSpPr/>
          <p:nvPr/>
        </p:nvSpPr>
        <p:spPr>
          <a:xfrm>
            <a:off x="90517" y="2599029"/>
            <a:ext cx="1701423" cy="11201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700">
                <a:solidFill>
                  <a:srgbClr val="000000"/>
                </a:solidFill>
                <a:latin typeface="Arial" panose="020B0604020202020204" pitchFamily="34" charset="0"/>
              </a:rPr>
              <a:t>Utfordringer knyttet til endring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C3CF7B78-5083-351E-07EF-549B8BFC4DB5}"/>
              </a:ext>
            </a:extLst>
          </p:cNvPr>
          <p:cNvSpPr/>
          <p:nvPr/>
        </p:nvSpPr>
        <p:spPr>
          <a:xfrm>
            <a:off x="90517" y="3241107"/>
            <a:ext cx="1701423" cy="11201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700">
                <a:solidFill>
                  <a:srgbClr val="000000"/>
                </a:solidFill>
                <a:latin typeface="Arial" panose="020B0604020202020204" pitchFamily="34" charset="0"/>
              </a:rPr>
              <a:t>Kapasitetsutfordringer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D3B0044-2FD9-400E-75C0-450D1D4A825B}"/>
              </a:ext>
            </a:extLst>
          </p:cNvPr>
          <p:cNvSpPr/>
          <p:nvPr/>
        </p:nvSpPr>
        <p:spPr>
          <a:xfrm>
            <a:off x="90517" y="3883185"/>
            <a:ext cx="1701423" cy="11201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700">
                <a:solidFill>
                  <a:srgbClr val="000000"/>
                </a:solidFill>
                <a:latin typeface="Arial" panose="020B0604020202020204" pitchFamily="34" charset="0"/>
              </a:rPr>
              <a:t>Opplevelse av mangelfull kommunikasjon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AE5AB86-647E-DE57-40C1-BA916A1E983D}"/>
              </a:ext>
            </a:extLst>
          </p:cNvPr>
          <p:cNvSpPr/>
          <p:nvPr/>
        </p:nvSpPr>
        <p:spPr>
          <a:xfrm>
            <a:off x="90517" y="4525263"/>
            <a:ext cx="1701423" cy="11201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700">
                <a:solidFill>
                  <a:srgbClr val="000000"/>
                </a:solidFill>
                <a:latin typeface="Arial" panose="020B0604020202020204" pitchFamily="34" charset="0"/>
              </a:rPr>
              <a:t>Uklarheter og mangler knyttet til opplæring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4AECB510-B58D-F53A-94FB-A23C37C1C783}"/>
              </a:ext>
            </a:extLst>
          </p:cNvPr>
          <p:cNvGrpSpPr/>
          <p:nvPr/>
        </p:nvGrpSpPr>
        <p:grpSpPr>
          <a:xfrm>
            <a:off x="5394472" y="53221"/>
            <a:ext cx="3468915" cy="241048"/>
            <a:chOff x="735389" y="1814286"/>
            <a:chExt cx="4634895" cy="295124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B042356E-2E68-15D8-CE14-3324E5DA7054}"/>
                </a:ext>
              </a:extLst>
            </p:cNvPr>
            <p:cNvSpPr/>
            <p:nvPr/>
          </p:nvSpPr>
          <p:spPr>
            <a:xfrm>
              <a:off x="735389" y="1814286"/>
              <a:ext cx="1129429" cy="295124"/>
            </a:xfrm>
            <a:prstGeom prst="rect">
              <a:avLst/>
            </a:prstGeom>
            <a:noFill/>
            <a:ln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600">
                  <a:solidFill>
                    <a:schemeClr val="tx1"/>
                  </a:solidFill>
                </a:rPr>
                <a:t>Økonomi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B503B56A-B325-0B72-A943-008F17615A43}"/>
                </a:ext>
              </a:extLst>
            </p:cNvPr>
            <p:cNvSpPr/>
            <p:nvPr/>
          </p:nvSpPr>
          <p:spPr>
            <a:xfrm>
              <a:off x="1903878" y="1814286"/>
              <a:ext cx="1129429" cy="295124"/>
            </a:xfrm>
            <a:prstGeom prst="rect">
              <a:avLst/>
            </a:prstGeom>
            <a:noFill/>
            <a:ln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600">
                  <a:solidFill>
                    <a:schemeClr val="tx1"/>
                  </a:solidFill>
                </a:rPr>
                <a:t>Virksomhetsstyring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EBDC1C7-FB34-6117-8F4B-85ACCB86BEFC}"/>
                </a:ext>
              </a:extLst>
            </p:cNvPr>
            <p:cNvSpPr/>
            <p:nvPr/>
          </p:nvSpPr>
          <p:spPr>
            <a:xfrm>
              <a:off x="3072367" y="1814286"/>
              <a:ext cx="1129429" cy="295124"/>
            </a:xfrm>
            <a:prstGeom prst="rect">
              <a:avLst/>
            </a:prstGeom>
            <a:noFill/>
            <a:ln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600">
                  <a:solidFill>
                    <a:schemeClr val="tx1"/>
                  </a:solidFill>
                </a:rPr>
                <a:t>HR /Tjenestesenter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397ED44-32C6-D58E-1109-916789B43C06}"/>
                </a:ext>
              </a:extLst>
            </p:cNvPr>
            <p:cNvSpPr/>
            <p:nvPr/>
          </p:nvSpPr>
          <p:spPr>
            <a:xfrm>
              <a:off x="4240855" y="1814286"/>
              <a:ext cx="1129429" cy="295124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600">
                  <a:solidFill>
                    <a:schemeClr val="tx1"/>
                  </a:solidFill>
                </a:rPr>
                <a:t>Felles</a:t>
              </a:r>
            </a:p>
          </p:txBody>
        </p:sp>
      </p:grpSp>
      <p:sp>
        <p:nvSpPr>
          <p:cNvPr id="7" name="Rectangle 16">
            <a:extLst>
              <a:ext uri="{FF2B5EF4-FFF2-40B4-BE49-F238E27FC236}">
                <a16:creationId xmlns:a16="http://schemas.microsoft.com/office/drawing/2014/main" id="{A6A82BFC-9DAF-B9D2-BECD-2A458AE3FF7A}"/>
              </a:ext>
            </a:extLst>
          </p:cNvPr>
          <p:cNvSpPr/>
          <p:nvPr/>
        </p:nvSpPr>
        <p:spPr>
          <a:xfrm>
            <a:off x="7762569" y="1622071"/>
            <a:ext cx="742745" cy="12700"/>
          </a:xfrm>
          <a:prstGeom prst="rect">
            <a:avLst/>
          </a:prstGeom>
          <a:solidFill>
            <a:srgbClr val="000000"/>
          </a:solidFill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solidFill>
                <a:srgbClr val="0C4789"/>
              </a:solidFill>
            </a:endParaRPr>
          </a:p>
        </p:txBody>
      </p:sp>
      <p:sp>
        <p:nvSpPr>
          <p:cNvPr id="37" name="Rectangle 29">
            <a:extLst>
              <a:ext uri="{FF2B5EF4-FFF2-40B4-BE49-F238E27FC236}">
                <a16:creationId xmlns:a16="http://schemas.microsoft.com/office/drawing/2014/main" id="{1E91EE02-91DC-F874-514C-D3B7ED97DBE7}"/>
              </a:ext>
            </a:extLst>
          </p:cNvPr>
          <p:cNvSpPr/>
          <p:nvPr/>
        </p:nvSpPr>
        <p:spPr>
          <a:xfrm>
            <a:off x="7611128" y="1382693"/>
            <a:ext cx="755445" cy="15458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000">
                <a:solidFill>
                  <a:srgbClr val="000000"/>
                </a:solidFill>
                <a:latin typeface="Arial" panose="020B0604020202020204" pitchFamily="34" charset="0"/>
              </a:rPr>
              <a:t>Status</a:t>
            </a:r>
          </a:p>
        </p:txBody>
      </p:sp>
      <p:sp>
        <p:nvSpPr>
          <p:cNvPr id="38" name="Rectangle 17">
            <a:extLst>
              <a:ext uri="{FF2B5EF4-FFF2-40B4-BE49-F238E27FC236}">
                <a16:creationId xmlns:a16="http://schemas.microsoft.com/office/drawing/2014/main" id="{5F738F11-3B81-1047-D1F0-51387AA3FC71}"/>
              </a:ext>
            </a:extLst>
          </p:cNvPr>
          <p:cNvSpPr/>
          <p:nvPr/>
        </p:nvSpPr>
        <p:spPr>
          <a:xfrm>
            <a:off x="7713965" y="1912780"/>
            <a:ext cx="1071080" cy="41345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600">
                <a:solidFill>
                  <a:srgbClr val="0C4789"/>
                </a:solidFill>
                <a:latin typeface="Arial" panose="020B0604020202020204" pitchFamily="34" charset="0"/>
              </a:rPr>
              <a:t>SAP: Fakultetsvisemøter gjennomført for å gjennomgå struktur</a:t>
            </a:r>
          </a:p>
          <a:p>
            <a:r>
              <a:rPr lang="nb-NO" sz="600">
                <a:solidFill>
                  <a:srgbClr val="0C4789"/>
                </a:solidFill>
                <a:latin typeface="Arial" panose="020B0604020202020204" pitchFamily="34" charset="0"/>
              </a:rPr>
              <a:t>Unit 4: eskalering slått av</a:t>
            </a:r>
          </a:p>
        </p:txBody>
      </p:sp>
      <p:sp>
        <p:nvSpPr>
          <p:cNvPr id="39" name="Rectangle 17">
            <a:extLst>
              <a:ext uri="{FF2B5EF4-FFF2-40B4-BE49-F238E27FC236}">
                <a16:creationId xmlns:a16="http://schemas.microsoft.com/office/drawing/2014/main" id="{B174BF88-E161-E1DB-5255-94C8FDF0C44F}"/>
              </a:ext>
            </a:extLst>
          </p:cNvPr>
          <p:cNvSpPr/>
          <p:nvPr/>
        </p:nvSpPr>
        <p:spPr>
          <a:xfrm>
            <a:off x="7713965" y="2546751"/>
            <a:ext cx="1071080" cy="41345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600">
                <a:solidFill>
                  <a:srgbClr val="0C4789"/>
                </a:solidFill>
                <a:latin typeface="Arial" panose="020B0604020202020204" pitchFamily="34" charset="0"/>
              </a:rPr>
              <a:t>Fakultetsvisemøter gjennomført med fokus på Innsikt og andre problemstillinger på forespørsel</a:t>
            </a:r>
          </a:p>
        </p:txBody>
      </p:sp>
      <p:sp>
        <p:nvSpPr>
          <p:cNvPr id="40" name="Rectangle 17">
            <a:extLst>
              <a:ext uri="{FF2B5EF4-FFF2-40B4-BE49-F238E27FC236}">
                <a16:creationId xmlns:a16="http://schemas.microsoft.com/office/drawing/2014/main" id="{8162A5E6-0D15-0D38-B85A-E2AABE08C104}"/>
              </a:ext>
            </a:extLst>
          </p:cNvPr>
          <p:cNvSpPr/>
          <p:nvPr/>
        </p:nvSpPr>
        <p:spPr>
          <a:xfrm>
            <a:off x="7762569" y="3150658"/>
            <a:ext cx="1071080" cy="41345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nb-NO" sz="600">
              <a:solidFill>
                <a:srgbClr val="0C4789"/>
              </a:solidFill>
              <a:latin typeface="Arial" panose="020B0604020202020204" pitchFamily="34" charset="0"/>
            </a:endParaRPr>
          </a:p>
        </p:txBody>
      </p:sp>
      <p:sp>
        <p:nvSpPr>
          <p:cNvPr id="41" name="Rectangle 17">
            <a:extLst>
              <a:ext uri="{FF2B5EF4-FFF2-40B4-BE49-F238E27FC236}">
                <a16:creationId xmlns:a16="http://schemas.microsoft.com/office/drawing/2014/main" id="{497E1AB6-2E76-13F3-0E34-31AE07775543}"/>
              </a:ext>
            </a:extLst>
          </p:cNvPr>
          <p:cNvSpPr/>
          <p:nvPr/>
        </p:nvSpPr>
        <p:spPr>
          <a:xfrm>
            <a:off x="7713965" y="3139305"/>
            <a:ext cx="1071080" cy="41345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600">
                <a:solidFill>
                  <a:srgbClr val="0C4789"/>
                </a:solidFill>
                <a:latin typeface="Arial" panose="020B0604020202020204" pitchFamily="34" charset="0"/>
              </a:rPr>
              <a:t>Pilot </a:t>
            </a:r>
            <a:r>
              <a:rPr lang="nb-NO" sz="600" err="1">
                <a:solidFill>
                  <a:srgbClr val="0C4789"/>
                </a:solidFill>
                <a:latin typeface="Arial" panose="020B0604020202020204" pitchFamily="34" charset="0"/>
              </a:rPr>
              <a:t>Btb</a:t>
            </a:r>
            <a:r>
              <a:rPr lang="nb-NO" sz="600">
                <a:solidFill>
                  <a:srgbClr val="0C4789"/>
                </a:solidFill>
                <a:latin typeface="Arial" panose="020B0604020202020204" pitchFamily="34" charset="0"/>
              </a:rPr>
              <a:t> prosessen gjennomført, satt opp tiltak etter rapport (opplæring)</a:t>
            </a:r>
          </a:p>
          <a:p>
            <a:r>
              <a:rPr lang="nb-NO" sz="600">
                <a:solidFill>
                  <a:srgbClr val="0C4789"/>
                </a:solidFill>
                <a:latin typeface="Arial" panose="020B0604020202020204" pitchFamily="34" charset="0"/>
              </a:rPr>
              <a:t>Prosess EU pågående</a:t>
            </a:r>
          </a:p>
        </p:txBody>
      </p:sp>
      <p:sp>
        <p:nvSpPr>
          <p:cNvPr id="42" name="Rectangle 17">
            <a:extLst>
              <a:ext uri="{FF2B5EF4-FFF2-40B4-BE49-F238E27FC236}">
                <a16:creationId xmlns:a16="http://schemas.microsoft.com/office/drawing/2014/main" id="{F8C6CBAF-BC86-CFA1-776C-BABA14594AEA}"/>
              </a:ext>
            </a:extLst>
          </p:cNvPr>
          <p:cNvSpPr/>
          <p:nvPr/>
        </p:nvSpPr>
        <p:spPr>
          <a:xfrm>
            <a:off x="7713965" y="3786028"/>
            <a:ext cx="1071080" cy="41345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600">
                <a:solidFill>
                  <a:srgbClr val="0C4789"/>
                </a:solidFill>
                <a:latin typeface="Arial" panose="020B0604020202020204" pitchFamily="34" charset="0"/>
              </a:rPr>
              <a:t>Samarbeidsmøte forvalting i høst og  NTNU forvalting økonomi og lønn egen wiki etablert</a:t>
            </a:r>
          </a:p>
        </p:txBody>
      </p:sp>
      <p:sp>
        <p:nvSpPr>
          <p:cNvPr id="43" name="Rectangle 17">
            <a:extLst>
              <a:ext uri="{FF2B5EF4-FFF2-40B4-BE49-F238E27FC236}">
                <a16:creationId xmlns:a16="http://schemas.microsoft.com/office/drawing/2014/main" id="{3988BE58-218E-D16B-CB67-AED962E81D6F}"/>
              </a:ext>
            </a:extLst>
          </p:cNvPr>
          <p:cNvSpPr/>
          <p:nvPr/>
        </p:nvSpPr>
        <p:spPr>
          <a:xfrm>
            <a:off x="7713965" y="4466026"/>
            <a:ext cx="1071080" cy="41345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reflection stA="0"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600" dirty="0">
                <a:solidFill>
                  <a:srgbClr val="0C4789"/>
                </a:solidFill>
                <a:latin typeface="Arial"/>
                <a:cs typeface="Arial"/>
              </a:rPr>
              <a:t>Opplæringssidene oppdateres løpende.</a:t>
            </a:r>
            <a:endParaRPr lang="nb-NO" sz="600" dirty="0">
              <a:solidFill>
                <a:srgbClr val="0C4789"/>
              </a:solidFill>
              <a:latin typeface="Arial" panose="020B0604020202020204" pitchFamily="34" charset="0"/>
            </a:endParaRPr>
          </a:p>
          <a:p>
            <a:r>
              <a:rPr lang="nb-NO" sz="600" dirty="0">
                <a:solidFill>
                  <a:srgbClr val="0C4789"/>
                </a:solidFill>
                <a:latin typeface="Arial"/>
                <a:cs typeface="Arial"/>
              </a:rPr>
              <a:t>PØ vil få presentert UiOs anbefaling om opplæring for nye </a:t>
            </a:r>
            <a:r>
              <a:rPr lang="nb-NO" sz="600" dirty="0" err="1">
                <a:solidFill>
                  <a:srgbClr val="0C4789"/>
                </a:solidFill>
                <a:latin typeface="Arial"/>
                <a:cs typeface="Arial"/>
              </a:rPr>
              <a:t>PØ'er</a:t>
            </a:r>
            <a:r>
              <a:rPr lang="nb-NO" sz="600" dirty="0">
                <a:solidFill>
                  <a:srgbClr val="0C4789"/>
                </a:solidFill>
                <a:latin typeface="Arial"/>
                <a:cs typeface="Arial"/>
              </a:rPr>
              <a:t>. Vurderes om det skal bli BOTT Felles</a:t>
            </a:r>
            <a:endParaRPr lang="nb-NO" sz="600" dirty="0">
              <a:solidFill>
                <a:srgbClr val="0C4789"/>
              </a:solidFill>
              <a:latin typeface="Arial" panose="020B0604020202020204" pitchFamily="34" charset="0"/>
              <a:cs typeface="Arial"/>
            </a:endParaRPr>
          </a:p>
          <a:p>
            <a:endParaRPr lang="nb-NO" sz="600" dirty="0">
              <a:solidFill>
                <a:srgbClr val="0C478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nb-NO" sz="600" dirty="0">
              <a:solidFill>
                <a:srgbClr val="0C478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4170588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A6CADC98-C797-09A8-416E-85855D521E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707886"/>
          </a:xfrm>
        </p:spPr>
        <p:txBody>
          <a:bodyPr/>
          <a:lstStyle/>
          <a:p>
            <a:r>
              <a:rPr lang="nb-NO" dirty="0">
                <a:solidFill>
                  <a:schemeClr val="bg2">
                    <a:lumMod val="25000"/>
                  </a:schemeClr>
                </a:solidFill>
              </a:rPr>
              <a:t>Statusark pr. prosess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C03A0A4D-7AD1-DED8-B52F-AE440510565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Status</a:t>
            </a:r>
          </a:p>
        </p:txBody>
      </p:sp>
    </p:spTree>
    <p:extLst>
      <p:ext uri="{BB962C8B-B14F-4D97-AF65-F5344CB8AC3E}">
        <p14:creationId xmlns:p14="http://schemas.microsoft.com/office/powerpoint/2010/main" val="334191251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2D7352B-0170-1254-1391-B86BB09E2B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981" y="125369"/>
            <a:ext cx="8381997" cy="646331"/>
          </a:xfrm>
        </p:spPr>
        <p:txBody>
          <a:bodyPr/>
          <a:lstStyle/>
          <a:p>
            <a:r>
              <a:rPr lang="nb-NO" sz="2800" dirty="0"/>
              <a:t>Status september - NTNU forvaltning </a:t>
            </a:r>
            <a:r>
              <a:rPr lang="nb-NO" dirty="0"/>
              <a:t> </a:t>
            </a:r>
          </a:p>
        </p:txBody>
      </p:sp>
      <p:graphicFrame>
        <p:nvGraphicFramePr>
          <p:cNvPr id="4" name="Tabell 5">
            <a:extLst>
              <a:ext uri="{FF2B5EF4-FFF2-40B4-BE49-F238E27FC236}">
                <a16:creationId xmlns:a16="http://schemas.microsoft.com/office/drawing/2014/main" id="{5AD73FD7-F777-33F3-BA51-ED8AF58EAD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9204413"/>
              </p:ext>
            </p:extLst>
          </p:nvPr>
        </p:nvGraphicFramePr>
        <p:xfrm>
          <a:off x="66173" y="852310"/>
          <a:ext cx="8765006" cy="4173441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4382503">
                  <a:extLst>
                    <a:ext uri="{9D8B030D-6E8A-4147-A177-3AD203B41FA5}">
                      <a16:colId xmlns:a16="http://schemas.microsoft.com/office/drawing/2014/main" val="4036808284"/>
                    </a:ext>
                  </a:extLst>
                </a:gridCol>
                <a:gridCol w="4382503">
                  <a:extLst>
                    <a:ext uri="{9D8B030D-6E8A-4147-A177-3AD203B41FA5}">
                      <a16:colId xmlns:a16="http://schemas.microsoft.com/office/drawing/2014/main" val="404333240"/>
                    </a:ext>
                  </a:extLst>
                </a:gridCol>
              </a:tblGrid>
              <a:tr h="1943100">
                <a:tc>
                  <a:txBody>
                    <a:bodyPr/>
                    <a:lstStyle/>
                    <a:p>
                      <a:r>
                        <a:rPr lang="nb-NO" sz="1200" b="1" dirty="0"/>
                        <a:t>Aktiviteter denne perioden</a:t>
                      </a:r>
                    </a:p>
                    <a:p>
                      <a:endParaRPr lang="nb-NO" sz="1200" b="1" dirty="0"/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 b="0" dirty="0"/>
                        <a:t>BOTT forvalting møte i Tromsø, rutiner og fordeling arbeid med oppfølging og prioritering av utvikling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 b="0" dirty="0"/>
                        <a:t>Etterarbeid etter møter i Tromsø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 b="0" dirty="0"/>
                        <a:t>Forberede møter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 b="0" dirty="0"/>
                        <a:t>Oppfølging av utviklingsplan og prioritering av oppgaver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200" b="1" dirty="0"/>
                        <a:t>Gjennomført sist periode</a:t>
                      </a:r>
                    </a:p>
                    <a:p>
                      <a:endParaRPr lang="nb-NO" sz="1200" b="1" dirty="0"/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 b="0" dirty="0"/>
                        <a:t>Samarbeidsmøte forvalting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 b="0" dirty="0"/>
                        <a:t>Møte i forvaltingsutvalg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 b="0" dirty="0"/>
                        <a:t>Møte prosessansvarlige og forvaltingsteam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 b="0" dirty="0"/>
                        <a:t>Møter i forvaltingsteam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 b="0" dirty="0"/>
                        <a:t>BOTT forvalting samling i Tromsø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4281607"/>
                  </a:ext>
                </a:extLst>
              </a:tr>
              <a:tr h="2230341">
                <a:tc>
                  <a:txBody>
                    <a:bodyPr/>
                    <a:lstStyle/>
                    <a:p>
                      <a:r>
                        <a:rPr lang="nb-NO" sz="1200" b="1" dirty="0"/>
                        <a:t>Sentrale aktiviteter neste periode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nb-NO" sz="1200" b="0" dirty="0"/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nb-NO" sz="1200" b="0" dirty="0"/>
                        <a:t>NTNUs prioriteringer av utvikling, både det som ligger i utviklingsplanen og forslag til videre utvikling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nb-NO" sz="1200" b="0" dirty="0"/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nb-NO" sz="1200" b="0" dirty="0"/>
                        <a:t>BOTT: Spesielt ansvar for oppfølging av utviklingsplanen på </a:t>
                      </a:r>
                      <a:r>
                        <a:rPr lang="nb-NO" sz="1200" b="0" dirty="0" err="1"/>
                        <a:t>Fti</a:t>
                      </a:r>
                      <a:r>
                        <a:rPr lang="nb-NO" sz="1200" b="0" dirty="0"/>
                        <a:t>-området.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200" b="1" dirty="0"/>
                        <a:t>Problemstillinger/ </a:t>
                      </a:r>
                      <a:r>
                        <a:rPr lang="nb-NO" sz="1200" b="1" baseline="0" dirty="0"/>
                        <a:t>risikoområder/koordineringsbehov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200" dirty="0"/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 dirty="0"/>
                        <a:t>Tid til å prioritere å jobbe med forvalting (drift går foran)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 dirty="0"/>
                        <a:t>Utfordrende å få status på utviklingsoppgaver fra DFØ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458057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2661281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2D7352B-0170-1254-1391-B86BB09E2B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981" y="125369"/>
            <a:ext cx="8381997" cy="523220"/>
          </a:xfrm>
        </p:spPr>
        <p:txBody>
          <a:bodyPr/>
          <a:lstStyle/>
          <a:p>
            <a:r>
              <a:rPr lang="nb-NO" sz="2800" dirty="0"/>
              <a:t>Status september – Lønn</a:t>
            </a:r>
            <a:endParaRPr lang="nb-NO" dirty="0"/>
          </a:p>
        </p:txBody>
      </p:sp>
      <p:graphicFrame>
        <p:nvGraphicFramePr>
          <p:cNvPr id="6" name="Tabell 5">
            <a:extLst>
              <a:ext uri="{FF2B5EF4-FFF2-40B4-BE49-F238E27FC236}">
                <a16:creationId xmlns:a16="http://schemas.microsoft.com/office/drawing/2014/main" id="{DC0882EC-53CA-49DE-51F0-0A88D6A7660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629606"/>
              </p:ext>
            </p:extLst>
          </p:nvPr>
        </p:nvGraphicFramePr>
        <p:xfrm>
          <a:off x="325556" y="870403"/>
          <a:ext cx="7585637" cy="3941702"/>
        </p:xfrm>
        <a:graphic>
          <a:graphicData uri="http://schemas.openxmlformats.org/drawingml/2006/table">
            <a:tbl>
              <a:tblPr/>
              <a:tblGrid>
                <a:gridCol w="3742693">
                  <a:extLst>
                    <a:ext uri="{9D8B030D-6E8A-4147-A177-3AD203B41FA5}">
                      <a16:colId xmlns:a16="http://schemas.microsoft.com/office/drawing/2014/main" val="1102507144"/>
                    </a:ext>
                  </a:extLst>
                </a:gridCol>
                <a:gridCol w="3842944">
                  <a:extLst>
                    <a:ext uri="{9D8B030D-6E8A-4147-A177-3AD203B41FA5}">
                      <a16:colId xmlns:a16="http://schemas.microsoft.com/office/drawing/2014/main" val="3024237249"/>
                    </a:ext>
                  </a:extLst>
                </a:gridCol>
              </a:tblGrid>
              <a:tr h="1911489">
                <a:tc>
                  <a:txBody>
                    <a:bodyPr/>
                    <a:lstStyle/>
                    <a:p>
                      <a:pPr algn="l" fontAlgn="base"/>
                      <a:r>
                        <a:rPr lang="nb-NO" sz="1000" b="1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ktiviteter denne perioden</a:t>
                      </a:r>
                      <a:r>
                        <a:rPr lang="nb-NO" sz="10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</a:p>
                    <a:p>
                      <a:pPr algn="l" fontAlgn="base"/>
                      <a:endParaRPr lang="nb-NO" sz="10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171450" indent="-1714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øpende driftsoppgaver​</a:t>
                      </a:r>
                      <a:endParaRPr lang="nb-NO" sz="10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171450" indent="-1714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ontinuerlig jobbing med interne rutiner og prosesser ​</a:t>
                      </a:r>
                      <a:endParaRPr lang="nb-NO" sz="10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171450" indent="-1714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rbeid med utarbeidelse av SLA​</a:t>
                      </a:r>
                      <a:endParaRPr lang="nb-NO" sz="10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171450" indent="-1714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tterarbeid etter konvertering​</a:t>
                      </a:r>
                      <a:endParaRPr lang="nb-NO" sz="10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171450" indent="-1714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valitetssikring av pliktige bistillinger / andre bistillinger og korrigering til riktig MG/MUG, innlesning av finansieringskilde og midlertidighetshjemler​</a:t>
                      </a:r>
                    </a:p>
                    <a:p>
                      <a:pPr marL="171450" indent="-1714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nlesning av ST-dato på alle ansatte​</a:t>
                      </a:r>
                    </a:p>
                    <a:p>
                      <a:pPr marL="171450" indent="-1714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amarbeidsmøter med HR-NTNU for å bedre datakvaliteten i SAP​</a:t>
                      </a:r>
                    </a:p>
                    <a:p>
                      <a:pPr algn="l" fontAlgn="base"/>
                      <a:r>
                        <a:rPr lang="nb-NO" sz="10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nb-NO" sz="10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58815" marR="58815" marT="29408" marB="29408">
                    <a:lnL w="933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33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33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33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nb-NO" sz="1000" b="1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jennomført sist periode</a:t>
                      </a:r>
                      <a:r>
                        <a:rPr lang="nb-NO" sz="10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</a:p>
                    <a:p>
                      <a:pPr algn="l" fontAlgn="base"/>
                      <a:endParaRPr lang="nb-NO" sz="10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171450" indent="-1714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agcafe </a:t>
                      </a:r>
                      <a:r>
                        <a:rPr lang="nb-NO" sz="1000" b="0" i="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A</a:t>
                      </a:r>
                      <a:r>
                        <a:rPr lang="nb-NO" sz="10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(27.09.23)​</a:t>
                      </a:r>
                    </a:p>
                    <a:p>
                      <a:pPr marL="171450" indent="-1714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WS utarbeidelse av SLA mellom TS og enheten 28.09.23​</a:t>
                      </a:r>
                    </a:p>
                    <a:p>
                      <a:pPr marL="171450" indent="-1714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kentlige møter i Bott prosessteam Lønn og prosessteam </a:t>
                      </a:r>
                      <a:r>
                        <a:rPr lang="nb-NO" sz="1000" b="0" i="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A</a:t>
                      </a:r>
                      <a:r>
                        <a:rPr lang="nb-NO" sz="10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</a:p>
                    <a:p>
                      <a:pPr marL="171450" indent="-1714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øter mellom prosessansvarlige og prosessrådgivere annen hver uke​</a:t>
                      </a:r>
                    </a:p>
                    <a:p>
                      <a:pPr marL="171450" indent="-1714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kentlige møter for å bedre datakvaliteten i SAP​</a:t>
                      </a:r>
                    </a:p>
                    <a:p>
                      <a:pPr marL="171450" indent="-1714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jennomført vedtatte organisasjonsendringer i SAP på avdeling for utdanning (AUD), IV-EPT, SU-ILU med virkningsdato 01.10.23​</a:t>
                      </a:r>
                    </a:p>
                    <a:p>
                      <a:pPr marL="171450" indent="-1714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jennomgang av DFØ Innsikt HR og lønn for TS (5.10.23)​</a:t>
                      </a:r>
                    </a:p>
                    <a:p>
                      <a:pPr algn="l" fontAlgn="base"/>
                      <a:r>
                        <a:rPr lang="nb-NO" sz="10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nb-NO" sz="10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58815" marR="58815" marT="29408" marB="29408">
                    <a:lnL w="933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33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33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33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48079319"/>
                  </a:ext>
                </a:extLst>
              </a:tr>
              <a:tr h="1901686">
                <a:tc>
                  <a:txBody>
                    <a:bodyPr/>
                    <a:lstStyle/>
                    <a:p>
                      <a:pPr algn="l" fontAlgn="base"/>
                      <a:r>
                        <a:rPr lang="nb-NO" sz="1000" b="1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entrale aktiviteter neste periode</a:t>
                      </a:r>
                      <a:r>
                        <a:rPr lang="nb-NO" sz="10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nb-NO" sz="10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171450" indent="-1714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ortsatt etterarbeid etter konvertering; </a:t>
                      </a:r>
                      <a:r>
                        <a:rPr lang="nb-NO" sz="1000" b="0" i="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.eks</a:t>
                      </a:r>
                      <a:r>
                        <a:rPr lang="nb-NO" sz="10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innlesning av finansieringskilde på alle andre ansatte​</a:t>
                      </a:r>
                    </a:p>
                    <a:p>
                      <a:pPr marL="171450" indent="-1714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ortsette arbeidet med utarbeidelse av SLA​</a:t>
                      </a:r>
                    </a:p>
                    <a:p>
                      <a:pPr marL="171450" indent="-1714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evere DBH rapport for første gang i nytt system​</a:t>
                      </a:r>
                    </a:p>
                    <a:p>
                      <a:pPr marL="171450" indent="-1714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jennomføre vedtatte mindre organisasjonsendringer i SAP på flere enheter​</a:t>
                      </a:r>
                    </a:p>
                    <a:p>
                      <a:pPr marL="171450" indent="-1714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Få definert nullpunkt i forhold til innmeldte/tildelte roller som personal og </a:t>
                      </a:r>
                      <a:r>
                        <a:rPr lang="nb-NO" sz="1000" b="0" i="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ostnadsgodkjennere</a:t>
                      </a:r>
                      <a:r>
                        <a:rPr lang="nb-NO" sz="10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(oversikt over delegert BDM-fullmakt) for alle enheter​</a:t>
                      </a:r>
                    </a:p>
                    <a:p>
                      <a:pPr marL="171450" indent="-1714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Utarbeide forslag til rutine for håndtering av intern permisjon</a:t>
                      </a:r>
                      <a:r>
                        <a:rPr lang="nb-NO" sz="10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</a:p>
                  </a:txBody>
                  <a:tcPr marL="58815" marR="58815" marT="29408" marB="29408">
                    <a:lnL w="933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33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33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33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nb-NO" sz="1000" b="1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oblemstillinger/ risikoområder/koordineringsbehov</a:t>
                      </a:r>
                      <a:r>
                        <a:rPr lang="nb-NO" sz="10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nb-NO" sz="10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algn="l" fontAlgn="base"/>
                      <a:r>
                        <a:rPr lang="nb-NO" sz="10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nb-NO" sz="1000" b="0" i="0" dirty="0">
                        <a:solidFill>
                          <a:srgbClr val="000000"/>
                        </a:solidFill>
                        <a:effectLst/>
                      </a:endParaRPr>
                    </a:p>
                    <a:p>
                      <a:pPr marL="171450" indent="-1714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tbetalte reiseforskudd som ikke blir gjort opp mot reiseregning skaper merarbeid.​</a:t>
                      </a:r>
                    </a:p>
                    <a:p>
                      <a:pPr marL="171450" indent="-1714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Flere stillinger og permisjoner er utfordrende å håndtere​</a:t>
                      </a:r>
                    </a:p>
                    <a:p>
                      <a:pPr marL="171450" indent="-1714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Stor arbeidsbelastning på TS​</a:t>
                      </a:r>
                    </a:p>
                    <a:p>
                      <a:pPr marL="171450" indent="-1714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nb-NO" sz="10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Omorganisering av fellesadministrasjonen blir en stor oppgave som må koordineres godt for å få alt riktig og på plass til virkningsdato 01.01.24​</a:t>
                      </a:r>
                    </a:p>
                  </a:txBody>
                  <a:tcPr marL="58815" marR="58815" marT="29408" marB="29408">
                    <a:lnL w="933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33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33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33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55498656"/>
                  </a:ext>
                </a:extLst>
              </a:tr>
            </a:tbl>
          </a:graphicData>
        </a:graphic>
      </p:graphicFrame>
      <p:sp>
        <p:nvSpPr>
          <p:cNvPr id="7" name="Rectangle 2">
            <a:extLst>
              <a:ext uri="{FF2B5EF4-FFF2-40B4-BE49-F238E27FC236}">
                <a16:creationId xmlns:a16="http://schemas.microsoft.com/office/drawing/2014/main" id="{CA90CFFB-4927-8E20-60A2-A0FCE0E7D7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17800" y="1025525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altLang="nb-NO" sz="18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kumimoji="0" lang="nb-NO" altLang="nb-NO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altLang="nb-NO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441984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2D7352B-0170-1254-1391-B86BB09E2B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173" y="117749"/>
            <a:ext cx="8381997" cy="646331"/>
          </a:xfrm>
        </p:spPr>
        <p:txBody>
          <a:bodyPr/>
          <a:lstStyle/>
          <a:p>
            <a:r>
              <a:rPr lang="nb-NO" sz="2800" dirty="0"/>
              <a:t>Status september – Behov til betaling</a:t>
            </a:r>
            <a:r>
              <a:rPr lang="nb-NO" dirty="0"/>
              <a:t> </a:t>
            </a:r>
          </a:p>
        </p:txBody>
      </p:sp>
      <p:graphicFrame>
        <p:nvGraphicFramePr>
          <p:cNvPr id="4" name="Tabell 5">
            <a:extLst>
              <a:ext uri="{FF2B5EF4-FFF2-40B4-BE49-F238E27FC236}">
                <a16:creationId xmlns:a16="http://schemas.microsoft.com/office/drawing/2014/main" id="{5AD73FD7-F777-33F3-BA51-ED8AF58EAD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741009"/>
              </p:ext>
            </p:extLst>
          </p:nvPr>
        </p:nvGraphicFramePr>
        <p:xfrm>
          <a:off x="66173" y="852310"/>
          <a:ext cx="8765006" cy="4173441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4382503">
                  <a:extLst>
                    <a:ext uri="{9D8B030D-6E8A-4147-A177-3AD203B41FA5}">
                      <a16:colId xmlns:a16="http://schemas.microsoft.com/office/drawing/2014/main" val="4036808284"/>
                    </a:ext>
                  </a:extLst>
                </a:gridCol>
                <a:gridCol w="4382503">
                  <a:extLst>
                    <a:ext uri="{9D8B030D-6E8A-4147-A177-3AD203B41FA5}">
                      <a16:colId xmlns:a16="http://schemas.microsoft.com/office/drawing/2014/main" val="404333240"/>
                    </a:ext>
                  </a:extLst>
                </a:gridCol>
              </a:tblGrid>
              <a:tr h="1943100">
                <a:tc>
                  <a:txBody>
                    <a:bodyPr/>
                    <a:lstStyle/>
                    <a:p>
                      <a:r>
                        <a:rPr lang="nb-NO" sz="1200" b="1"/>
                        <a:t>Aktiviteter denne perioden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nb-NO" sz="10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lanlegging av BtB fagkafé for fagrekvirenter og innkjøpere, som avholdes 02.10.23</a:t>
                      </a:r>
                      <a:endParaRPr lang="nb-NO" sz="1000" b="0"/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nb-NO" sz="10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skusjoner rundt leverandørregisteret med leverandørgruppen, med formål å få det ryddigere ift. duplikater mv.</a:t>
                      </a:r>
                      <a:endParaRPr lang="nb-NO" sz="1000" b="0"/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nb-NO" sz="10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alog med utvalgte store leverandører ift. å få på plass korrekt merking av faktura slik at vi kan ta i bruk "periodisk faktura" (Prima frukt, Fjordkraft, </a:t>
                      </a:r>
                      <a:r>
                        <a:rPr lang="nb-NO" sz="100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aterlogic</a:t>
                      </a:r>
                      <a:r>
                        <a:rPr lang="nb-NO" sz="10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og Linde gas)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nb-NO" sz="10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alog med Linde gas </a:t>
                      </a:r>
                      <a:r>
                        <a:rPr lang="nb-NO" sz="100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ft</a:t>
                      </a:r>
                      <a:r>
                        <a:rPr lang="nb-NO" sz="10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nb-NO" sz="100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unchout</a:t>
                      </a:r>
                      <a:r>
                        <a:rPr lang="nb-NO" sz="10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katalog som ikke fungerer </a:t>
                      </a:r>
                    </a:p>
                    <a:p>
                      <a:pPr marL="0" indent="0">
                        <a:buFontTx/>
                        <a:buNone/>
                      </a:pPr>
                      <a:endParaRPr lang="nb-NO" sz="1000" b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200" b="1"/>
                        <a:t>Gjennomført sist periode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nb-NO" sz="1000" b="0"/>
                        <a:t>Faste </a:t>
                      </a:r>
                      <a:r>
                        <a:rPr lang="nb-NO" sz="10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øter med hhv. BtB nasjonalt prosessteam, BtB prosessansvarlige NTNU, og leverandørgruppen (regnskap)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nb-NO" sz="10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odkjenning i App ble </a:t>
                      </a:r>
                      <a:r>
                        <a:rPr lang="nb-NO" sz="100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d.satt</a:t>
                      </a:r>
                      <a:endParaRPr lang="nb-NO" sz="10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nb-NO" sz="10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lasjon Fritekstleverandør </a:t>
                      </a:r>
                      <a:r>
                        <a:rPr lang="nb-NO" sz="1000" kern="120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d.satt</a:t>
                      </a:r>
                      <a:r>
                        <a:rPr lang="nb-NO" sz="10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og informert/lært opp berørte brukere om denne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endParaRPr lang="nb-NO" sz="10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buFontTx/>
                        <a:buChar char="-"/>
                      </a:pPr>
                      <a:endParaRPr lang="nb-NO" sz="10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4281607"/>
                  </a:ext>
                </a:extLst>
              </a:tr>
              <a:tr h="2230341">
                <a:tc>
                  <a:txBody>
                    <a:bodyPr/>
                    <a:lstStyle/>
                    <a:p>
                      <a:r>
                        <a:rPr lang="nb-NO" sz="1200" b="1" dirty="0"/>
                        <a:t>Sentrale aktiviteter neste periode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nb-NO" sz="1000" b="0" dirty="0"/>
                        <a:t>Gjennomgå </a:t>
                      </a:r>
                      <a:r>
                        <a:rPr lang="nb-NO" sz="1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g prioritere endringsønsker (forbedringsforslag) BtB med prosessrådgiverne og leverandørgruppen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nb-NO" sz="1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jenoppta arbeid med leveringsadresser og GLN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nb-NO" sz="1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rtsette rydding av leverandørregisteret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nb-NO" sz="1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rtsette dialog med utvalgte store leverandører ift. å få på plass korrekt merking av faktura slik at vi kan ta i bruk "periodisk faktura" 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nb-NO" sz="1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rtsette dialog med Linde gas </a:t>
                      </a:r>
                      <a:r>
                        <a:rPr lang="nb-NO" sz="10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ft</a:t>
                      </a:r>
                      <a:r>
                        <a:rPr lang="nb-NO" sz="1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nb-NO" sz="10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unchout</a:t>
                      </a:r>
                      <a:r>
                        <a:rPr lang="nb-NO" sz="1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katalog som ikke fungerer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200" b="1" dirty="0"/>
                        <a:t>Problemstillinger/ </a:t>
                      </a:r>
                      <a:r>
                        <a:rPr lang="nb-NO" sz="1200" b="1" baseline="0" dirty="0"/>
                        <a:t>risikoområder/koordineringsbehov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nb-NO" sz="1000" dirty="0"/>
                        <a:t>Det virker å være problematisk for Linde gas å få </a:t>
                      </a:r>
                      <a:r>
                        <a:rPr lang="nb-NO" sz="10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unchout</a:t>
                      </a:r>
                      <a:r>
                        <a:rPr lang="nb-NO" sz="1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katalog til å fungere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nb-NO" sz="1000" dirty="0"/>
                        <a:t>Ta i bruk GLN vil gjøre at vi må vedlikeholde to </a:t>
                      </a:r>
                      <a:r>
                        <a:rPr lang="nb-NO" sz="1000" dirty="0" err="1"/>
                        <a:t>adresseregistere</a:t>
                      </a:r>
                      <a:r>
                        <a:rPr lang="nb-NO" sz="1000" dirty="0"/>
                        <a:t> – ett hos GS1 og ett i Unit4 (kan løses hvis DFØ tar i bruk API mot GLN numre.)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endParaRPr lang="nb-NO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buFontTx/>
                        <a:buChar char="-"/>
                      </a:pPr>
                      <a:endParaRPr lang="nb-NO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458057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364694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6FF3F59-8A4A-F3A7-9C17-E76E613B15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>
                <a:solidFill>
                  <a:srgbClr val="0C4788"/>
                </a:solidFill>
              </a:rPr>
              <a:t>Samarbeidsmøte forvaltning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CA582AF2-D415-DE7C-AC77-A702CCF1E5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6573" y="1134893"/>
            <a:ext cx="8592702" cy="4008607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nb-NO" dirty="0">
                <a:solidFill>
                  <a:schemeClr val="bg2">
                    <a:lumMod val="25000"/>
                  </a:schemeClr>
                </a:solidFill>
              </a:rPr>
              <a:t>Videreføring av Innføringsledermøter som var del av BOTT ØL Innføringsprosjekt</a:t>
            </a:r>
          </a:p>
          <a:p>
            <a:endParaRPr lang="nb-NO" dirty="0">
              <a:solidFill>
                <a:schemeClr val="bg2">
                  <a:lumMod val="25000"/>
                </a:schemeClr>
              </a:solidFill>
            </a:endParaRPr>
          </a:p>
          <a:p>
            <a:pPr marL="0" indent="0">
              <a:buNone/>
            </a:pPr>
            <a:r>
              <a:rPr lang="nb-NO" dirty="0">
                <a:solidFill>
                  <a:schemeClr val="bg2">
                    <a:lumMod val="25000"/>
                  </a:schemeClr>
                </a:solidFill>
              </a:rPr>
              <a:t>Møter i høst, alle møtene er på Teams kl. 9-10</a:t>
            </a:r>
          </a:p>
          <a:p>
            <a:pPr marL="685800" lvl="1">
              <a:lnSpc>
                <a:spcPct val="107000"/>
              </a:lnSpc>
            </a:pPr>
            <a:r>
              <a:rPr lang="nb-NO" sz="1400" strike="sngStrike" kern="1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0</a:t>
            </a:r>
            <a:r>
              <a:rPr lang="nb-NO" sz="1400" strike="sngStrike" kern="100" dirty="0">
                <a:solidFill>
                  <a:schemeClr val="bg2">
                    <a:lumMod val="2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august </a:t>
            </a:r>
          </a:p>
          <a:p>
            <a:pPr marL="685800" lvl="1">
              <a:lnSpc>
                <a:spcPct val="107000"/>
              </a:lnSpc>
            </a:pPr>
            <a:r>
              <a:rPr lang="nb-NO" sz="1400" strike="sngStrike" kern="100" dirty="0">
                <a:solidFill>
                  <a:schemeClr val="bg2">
                    <a:lumMod val="2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. september</a:t>
            </a:r>
          </a:p>
          <a:p>
            <a:pPr marL="685800" lvl="1">
              <a:lnSpc>
                <a:spcPct val="107000"/>
              </a:lnSpc>
            </a:pPr>
            <a:r>
              <a:rPr lang="nb-NO" sz="1400" kern="100" dirty="0">
                <a:solidFill>
                  <a:schemeClr val="bg2">
                    <a:lumMod val="2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8. oktober</a:t>
            </a:r>
          </a:p>
          <a:p>
            <a:pPr marL="685800" lvl="1">
              <a:lnSpc>
                <a:spcPct val="107000"/>
              </a:lnSpc>
            </a:pPr>
            <a:r>
              <a:rPr lang="nb-NO" sz="1400" kern="100" dirty="0">
                <a:solidFill>
                  <a:schemeClr val="bg2">
                    <a:lumMod val="2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5. november</a:t>
            </a:r>
          </a:p>
          <a:p>
            <a:pPr marL="685800" lvl="1">
              <a:lnSpc>
                <a:spcPct val="107000"/>
              </a:lnSpc>
              <a:spcAft>
                <a:spcPts val="800"/>
              </a:spcAft>
            </a:pPr>
            <a:r>
              <a:rPr lang="nb-NO" sz="1400" kern="100" dirty="0">
                <a:solidFill>
                  <a:schemeClr val="bg2">
                    <a:lumMod val="2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3. desember</a:t>
            </a:r>
          </a:p>
          <a:p>
            <a:pPr marL="0" indent="0">
              <a:buNone/>
            </a:pPr>
            <a:r>
              <a:rPr lang="nb-NO" sz="1700" dirty="0">
                <a:solidFill>
                  <a:schemeClr val="bg2">
                    <a:lumMod val="25000"/>
                  </a:schemeClr>
                </a:solidFill>
              </a:rPr>
              <a:t>Tema som ønsker å tas opp eller presenteres meldes til </a:t>
            </a:r>
            <a:r>
              <a:rPr lang="nb-NO" sz="1700" dirty="0">
                <a:hlinkClick r:id="rId3"/>
              </a:rPr>
              <a:t>gry.l.johansen@ntnu.no</a:t>
            </a:r>
            <a:r>
              <a:rPr lang="nb-NO" sz="1700" dirty="0"/>
              <a:t> </a:t>
            </a:r>
          </a:p>
          <a:p>
            <a:pPr marL="0" indent="0">
              <a:buNone/>
            </a:pPr>
            <a:endParaRPr lang="nb-NO" sz="1700" dirty="0"/>
          </a:p>
          <a:p>
            <a:pPr marL="0" indent="0">
              <a:buNone/>
            </a:pPr>
            <a:r>
              <a:rPr lang="nb-NO" sz="1700" dirty="0">
                <a:solidFill>
                  <a:schemeClr val="bg2">
                    <a:lumMod val="25000"/>
                  </a:schemeClr>
                </a:solidFill>
              </a:rPr>
              <a:t>Presentasjon fra møtene legges på: </a:t>
            </a:r>
          </a:p>
          <a:p>
            <a:pPr marL="0" indent="0">
              <a:buNone/>
            </a:pPr>
            <a:r>
              <a:rPr lang="nb-NO" sz="1700" dirty="0">
                <a:hlinkClick r:id="rId4"/>
              </a:rPr>
              <a:t>NTNU økonomi og lønn forvaltning - Kunnskapsbasen – NTNU</a:t>
            </a:r>
            <a:r>
              <a:rPr lang="nb-NO" sz="1700" dirty="0"/>
              <a:t> (under siste nytt)</a:t>
            </a:r>
          </a:p>
        </p:txBody>
      </p:sp>
    </p:spTree>
    <p:extLst>
      <p:ext uri="{BB962C8B-B14F-4D97-AF65-F5344CB8AC3E}">
        <p14:creationId xmlns:p14="http://schemas.microsoft.com/office/powerpoint/2010/main" val="183793611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2D7352B-0170-1254-1391-B86BB09E2B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981" y="125369"/>
            <a:ext cx="8381997" cy="646331"/>
          </a:xfrm>
        </p:spPr>
        <p:txBody>
          <a:bodyPr/>
          <a:lstStyle/>
          <a:p>
            <a:r>
              <a:rPr lang="nb-NO" sz="2800" dirty="0"/>
              <a:t>Status september - </a:t>
            </a:r>
            <a:r>
              <a:rPr lang="nb-NO" sz="2800" dirty="0" err="1"/>
              <a:t>Fti</a:t>
            </a:r>
            <a:r>
              <a:rPr lang="nb-NO" sz="2800" dirty="0"/>
              <a:t> </a:t>
            </a:r>
            <a:r>
              <a:rPr lang="nb-NO" dirty="0"/>
              <a:t> </a:t>
            </a:r>
          </a:p>
        </p:txBody>
      </p:sp>
      <p:graphicFrame>
        <p:nvGraphicFramePr>
          <p:cNvPr id="4" name="Tabell 5">
            <a:extLst>
              <a:ext uri="{FF2B5EF4-FFF2-40B4-BE49-F238E27FC236}">
                <a16:creationId xmlns:a16="http://schemas.microsoft.com/office/drawing/2014/main" id="{5AD73FD7-F777-33F3-BA51-ED8AF58EAD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2967835"/>
              </p:ext>
            </p:extLst>
          </p:nvPr>
        </p:nvGraphicFramePr>
        <p:xfrm>
          <a:off x="137374" y="870697"/>
          <a:ext cx="8616102" cy="4108947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4308051">
                  <a:extLst>
                    <a:ext uri="{9D8B030D-6E8A-4147-A177-3AD203B41FA5}">
                      <a16:colId xmlns:a16="http://schemas.microsoft.com/office/drawing/2014/main" val="4036808284"/>
                    </a:ext>
                  </a:extLst>
                </a:gridCol>
                <a:gridCol w="4308051">
                  <a:extLst>
                    <a:ext uri="{9D8B030D-6E8A-4147-A177-3AD203B41FA5}">
                      <a16:colId xmlns:a16="http://schemas.microsoft.com/office/drawing/2014/main" val="404333240"/>
                    </a:ext>
                  </a:extLst>
                </a:gridCol>
              </a:tblGrid>
              <a:tr h="1091427">
                <a:tc>
                  <a:txBody>
                    <a:bodyPr/>
                    <a:lstStyle/>
                    <a:p>
                      <a:r>
                        <a:rPr lang="nb-NO" sz="1200" b="1"/>
                        <a:t>Aktiviteter denne perioden</a:t>
                      </a:r>
                    </a:p>
                    <a:p>
                      <a:pPr marL="171450" lvl="0" indent="-171450">
                        <a:buFont typeface="Arial"/>
                        <a:buChar char="•"/>
                      </a:pPr>
                      <a:r>
                        <a:rPr lang="nb-NO" sz="1200" b="0"/>
                        <a:t>NTNU – fokus på driftsoppgaver og frister</a:t>
                      </a:r>
                    </a:p>
                    <a:p>
                      <a:pPr marL="171450" lvl="0" indent="-171450">
                        <a:buFont typeface="Arial"/>
                        <a:buChar char="•"/>
                      </a:pPr>
                      <a:r>
                        <a:rPr lang="nb-NO" sz="1200" b="0"/>
                        <a:t>Gjennomgang av utviklingsplanen</a:t>
                      </a:r>
                    </a:p>
                    <a:p>
                      <a:pPr lvl="0">
                        <a:buNone/>
                      </a:pPr>
                      <a:endParaRPr lang="nb-NO" sz="1200" b="1"/>
                    </a:p>
                    <a:p>
                      <a:pPr lvl="0">
                        <a:buNone/>
                      </a:pPr>
                      <a:endParaRPr lang="nb-NO" sz="1200" b="1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200" b="1"/>
                        <a:t>Gjennomført sist periode</a:t>
                      </a:r>
                    </a:p>
                    <a:p>
                      <a:pPr marL="171450" lvl="0" indent="-171450">
                        <a:buClr>
                          <a:srgbClr val="000000"/>
                        </a:buClr>
                        <a:buFont typeface="Arial,Sans-Serif"/>
                        <a:buChar char="•"/>
                      </a:pPr>
                      <a:r>
                        <a:rPr lang="nb-NO" sz="1200" b="0" i="0" u="none" strike="noStrike" noProof="0">
                          <a:solidFill>
                            <a:srgbClr val="000000"/>
                          </a:solidFill>
                          <a:latin typeface="Arial"/>
                        </a:rPr>
                        <a:t>Faste månedlig møte prosessansvarlig BOTT-</a:t>
                      </a:r>
                      <a:r>
                        <a:rPr lang="nb-NO" sz="1200" b="0" i="0" u="none" strike="noStrike" noProof="0" err="1">
                          <a:solidFill>
                            <a:srgbClr val="000000"/>
                          </a:solidFill>
                          <a:latin typeface="Arial"/>
                        </a:rPr>
                        <a:t>Fti</a:t>
                      </a:r>
                      <a:endParaRPr lang="nb-NO" sz="1200" b="0" i="0" u="none" strike="noStrike" noProof="0">
                        <a:solidFill>
                          <a:srgbClr val="000000"/>
                        </a:solidFill>
                        <a:latin typeface="Arial"/>
                      </a:endParaRPr>
                    </a:p>
                    <a:p>
                      <a:pPr marL="171450" lvl="0" indent="-171450">
                        <a:buClr>
                          <a:srgbClr val="000000"/>
                        </a:buClr>
                        <a:buFont typeface="Arial,Sans-Serif"/>
                        <a:buChar char="•"/>
                      </a:pPr>
                      <a:r>
                        <a:rPr lang="nb-NO" sz="1200" b="0" i="0" u="none" strike="noStrike" noProof="0">
                          <a:solidFill>
                            <a:srgbClr val="000000"/>
                          </a:solidFill>
                          <a:latin typeface="Arial"/>
                        </a:rPr>
                        <a:t>Møter </a:t>
                      </a:r>
                      <a:r>
                        <a:rPr lang="nb-NO" sz="1200" b="0" i="0" u="none" strike="noStrike" noProof="0" err="1">
                          <a:solidFill>
                            <a:srgbClr val="000000"/>
                          </a:solidFill>
                          <a:latin typeface="Arial"/>
                        </a:rPr>
                        <a:t>Fti</a:t>
                      </a:r>
                      <a:r>
                        <a:rPr lang="nb-NO" sz="1200" b="0" i="0" u="none" strike="noStrike" noProof="0">
                          <a:solidFill>
                            <a:srgbClr val="000000"/>
                          </a:solidFill>
                          <a:latin typeface="Arial"/>
                        </a:rPr>
                        <a:t> "gruppemøte" (NTNU) hver 14. Dag</a:t>
                      </a:r>
                      <a:endParaRPr lang="en-US" sz="1200" b="0" i="0" u="none" strike="noStrike" noProof="0">
                        <a:solidFill>
                          <a:srgbClr val="000000"/>
                        </a:solidFill>
                        <a:latin typeface="Arial"/>
                      </a:endParaRPr>
                    </a:p>
                    <a:p>
                      <a:pPr lvl="0">
                        <a:buNone/>
                      </a:pPr>
                      <a:endParaRPr lang="nb-NO" sz="1200" b="1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4281607"/>
                  </a:ext>
                </a:extLst>
              </a:tr>
              <a:tr h="2952776">
                <a:tc>
                  <a:txBody>
                    <a:bodyPr/>
                    <a:lstStyle/>
                    <a:p>
                      <a:r>
                        <a:rPr lang="nb-NO" sz="1200" b="1" dirty="0"/>
                        <a:t>Sentrale aktiviteter neste periode</a:t>
                      </a:r>
                    </a:p>
                    <a:p>
                      <a:pPr marL="0" lvl="0" indent="0">
                        <a:buClr>
                          <a:srgbClr val="000000"/>
                        </a:buClr>
                        <a:buFont typeface="Arial,Sans-Serif"/>
                        <a:buNone/>
                      </a:pPr>
                      <a:endParaRPr lang="nb-NO" sz="1200" b="1" i="0" u="none" strike="noStrike" noProof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  <a:p>
                      <a:pPr marL="0" lvl="0" indent="0">
                        <a:buClr>
                          <a:srgbClr val="000000"/>
                        </a:buClr>
                        <a:buFont typeface="Arial,Sans-Serif"/>
                        <a:buNone/>
                      </a:pPr>
                      <a:r>
                        <a:rPr lang="nb-NO" sz="1200" b="1" i="0" u="none" strike="noStrike" noProof="0" dirty="0">
                          <a:solidFill>
                            <a:srgbClr val="000000"/>
                          </a:solidFill>
                          <a:latin typeface="Arial"/>
                        </a:rPr>
                        <a:t>NTNU:</a:t>
                      </a:r>
                    </a:p>
                    <a:p>
                      <a:pPr marL="171450" lvl="0" indent="-171450">
                        <a:buClr>
                          <a:srgbClr val="000000"/>
                        </a:buClr>
                        <a:buFont typeface="Arial,Sans-Serif"/>
                        <a:buChar char="•"/>
                      </a:pPr>
                      <a:r>
                        <a:rPr lang="nb-NO" sz="1200" b="0" i="0" u="none" strike="noStrike" noProof="0" dirty="0">
                          <a:solidFill>
                            <a:srgbClr val="000000"/>
                          </a:solidFill>
                          <a:latin typeface="Arial"/>
                        </a:rPr>
                        <a:t>Gjennomføre kurs for fakturaansvarlige og salgsordreopprettere 25.10 - grunnleggende gjennomgang</a:t>
                      </a:r>
                    </a:p>
                    <a:p>
                      <a:pPr marL="171450" lvl="0" indent="-171450">
                        <a:buClr>
                          <a:srgbClr val="000000"/>
                        </a:buClr>
                        <a:buFont typeface="Arial,Sans-Serif"/>
                        <a:buChar char="•"/>
                      </a:pPr>
                      <a:r>
                        <a:rPr lang="nb-NO" sz="1200" b="0" i="0" u="none" strike="noStrike" noProof="0" dirty="0">
                          <a:solidFill>
                            <a:srgbClr val="000000"/>
                          </a:solidFill>
                          <a:latin typeface="Arial"/>
                        </a:rPr>
                        <a:t>Lage kursinnhold og kalle inn til kurs/spørretime for fakturaansvarlig og salgsordreopprettere ved NTNU</a:t>
                      </a:r>
                      <a:endParaRPr lang="en-US" sz="1200" b="0" i="0" u="none" strike="noStrike" noProof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  <a:p>
                      <a:pPr marL="171450" lvl="0" indent="-171450">
                        <a:buClr>
                          <a:srgbClr val="000000"/>
                        </a:buClr>
                        <a:buFont typeface="Arial,Sans-Serif"/>
                        <a:buChar char="•"/>
                      </a:pPr>
                      <a:r>
                        <a:rPr lang="nb-NO" sz="1200" b="0" i="0" u="none" strike="noStrike" noProof="0" dirty="0">
                          <a:solidFill>
                            <a:srgbClr val="000000"/>
                          </a:solidFill>
                          <a:latin typeface="Arial"/>
                        </a:rPr>
                        <a:t>Fokus på opplæring sentralt</a:t>
                      </a:r>
                    </a:p>
                    <a:p>
                      <a:pPr marL="171450" lvl="0" indent="-171450">
                        <a:buClr>
                          <a:srgbClr val="000000"/>
                        </a:buClr>
                        <a:buFont typeface="Arial,Sans-Serif"/>
                        <a:buChar char="•"/>
                      </a:pPr>
                      <a:r>
                        <a:rPr lang="nb-NO" sz="1200" b="0" i="0" u="none" strike="noStrike" noProof="0" dirty="0">
                          <a:solidFill>
                            <a:srgbClr val="000000"/>
                          </a:solidFill>
                          <a:latin typeface="Arial"/>
                        </a:rPr>
                        <a:t>Planlegging av arbeidsoppgaver som ikke er satt i drift</a:t>
                      </a:r>
                      <a:endParaRPr lang="en-US" sz="1200" b="0" i="0" u="none" strike="noStrike" noProof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  <a:p>
                      <a:pPr marL="628650" lvl="1" indent="-171450">
                        <a:buClr>
                          <a:srgbClr val="000000"/>
                        </a:buClr>
                        <a:buFont typeface="Arial,Sans-Serif"/>
                        <a:buChar char="•"/>
                      </a:pPr>
                      <a:r>
                        <a:rPr lang="nb-NO" sz="1200" b="0" i="0" u="none" strike="noStrike" noProof="0" dirty="0">
                          <a:solidFill>
                            <a:srgbClr val="000000"/>
                          </a:solidFill>
                          <a:latin typeface="Arial"/>
                        </a:rPr>
                        <a:t>Kundevask</a:t>
                      </a:r>
                      <a:endParaRPr lang="en-US" sz="1200" b="0" i="0" u="none" strike="noStrike" noProof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  <a:p>
                      <a:pPr marL="628650" lvl="1" indent="-171450">
                        <a:buClr>
                          <a:srgbClr val="000000"/>
                        </a:buClr>
                        <a:buFont typeface="Arial,Sans-Serif"/>
                        <a:buChar char="•"/>
                      </a:pPr>
                      <a:r>
                        <a:rPr lang="nb-NO" sz="1200" b="0" i="0" u="none" strike="noStrike" noProof="0" dirty="0">
                          <a:solidFill>
                            <a:srgbClr val="000000"/>
                          </a:solidFill>
                          <a:latin typeface="Arial"/>
                        </a:rPr>
                        <a:t>Inkasso - </a:t>
                      </a:r>
                      <a:r>
                        <a:rPr lang="nb-NO" sz="1200" b="0" i="0" u="none" strike="noStrike" noProof="0" dirty="0" err="1">
                          <a:solidFill>
                            <a:srgbClr val="000000"/>
                          </a:solidFill>
                          <a:latin typeface="Arial"/>
                        </a:rPr>
                        <a:t>tilbakelesing</a:t>
                      </a:r>
                      <a:endParaRPr lang="nb-NO" sz="1200" b="0" i="0" u="none" strike="noStrike" noProof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  <a:p>
                      <a:pPr marL="0" lvl="0" indent="0">
                        <a:buClr>
                          <a:srgbClr val="000000"/>
                        </a:buClr>
                        <a:buFont typeface="Arial,Sans-Serif"/>
                        <a:buNone/>
                      </a:pPr>
                      <a:endParaRPr lang="nb-NO" sz="1200" b="1" i="0" u="none" strike="noStrike" noProof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  <a:p>
                      <a:pPr marL="0" lvl="0" indent="0">
                        <a:buClr>
                          <a:srgbClr val="000000"/>
                        </a:buClr>
                        <a:buFont typeface="Arial,Sans-Serif"/>
                        <a:buNone/>
                      </a:pPr>
                      <a:r>
                        <a:rPr lang="nb-NO" sz="1200" b="1" i="0" u="none" strike="noStrike" noProof="0" dirty="0">
                          <a:solidFill>
                            <a:srgbClr val="000000"/>
                          </a:solidFill>
                          <a:latin typeface="Arial"/>
                        </a:rPr>
                        <a:t>BOTT-</a:t>
                      </a:r>
                      <a:r>
                        <a:rPr lang="nb-NO" sz="1200" b="1" i="0" u="none" strike="noStrike" noProof="0" dirty="0" err="1">
                          <a:solidFill>
                            <a:srgbClr val="000000"/>
                          </a:solidFill>
                          <a:latin typeface="Arial"/>
                        </a:rPr>
                        <a:t>Fti</a:t>
                      </a:r>
                      <a:r>
                        <a:rPr lang="nb-NO" sz="1200" b="1" i="0" u="none" strike="noStrike" noProof="0" dirty="0">
                          <a:solidFill>
                            <a:srgbClr val="000000"/>
                          </a:solidFill>
                          <a:latin typeface="Arial"/>
                        </a:rPr>
                        <a:t>:</a:t>
                      </a:r>
                      <a:endParaRPr lang="en-US" sz="1200" b="1" i="0" u="none" strike="noStrike" noProof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  <a:p>
                      <a:pPr marL="628650" lvl="1" indent="-171450">
                        <a:buClr>
                          <a:srgbClr val="000000"/>
                        </a:buClr>
                        <a:buFont typeface="Arial,Sans-Serif"/>
                        <a:buChar char="•"/>
                      </a:pPr>
                      <a:r>
                        <a:rPr lang="nb-NO" sz="1200" b="0" i="0" u="none" strike="noStrike" noProof="0" dirty="0">
                          <a:solidFill>
                            <a:srgbClr val="000000"/>
                          </a:solidFill>
                          <a:latin typeface="Arial"/>
                        </a:rPr>
                        <a:t>Følge opp framgang EHF utland</a:t>
                      </a:r>
                      <a:endParaRPr lang="en-US" sz="1200" b="0" i="0" u="none" strike="noStrike" noProof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  <a:p>
                      <a:pPr marL="628650" lvl="1" indent="-171450">
                        <a:buClr>
                          <a:srgbClr val="000000"/>
                        </a:buClr>
                        <a:buFont typeface="Arial,Sans-Serif"/>
                        <a:buChar char="•"/>
                      </a:pPr>
                      <a:r>
                        <a:rPr lang="nb-NO" sz="1200" b="0" i="0" u="none" strike="noStrike" noProof="0" dirty="0">
                          <a:solidFill>
                            <a:srgbClr val="000000"/>
                          </a:solidFill>
                          <a:latin typeface="Arial"/>
                        </a:rPr>
                        <a:t>Følge opp punkter i utviklingsplanen </a:t>
                      </a:r>
                    </a:p>
                    <a:p>
                      <a:pPr marL="171450" lvl="0" indent="-171450">
                        <a:buClr>
                          <a:srgbClr val="000000"/>
                        </a:buClr>
                        <a:buFont typeface="Arial,Sans-Serif"/>
                        <a:buChar char="•"/>
                      </a:pPr>
                      <a:endParaRPr lang="nb-NO" sz="1200" b="0" i="0" u="none" strike="noStrike" noProof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200" b="1" dirty="0"/>
                        <a:t>Problemstillinger/ </a:t>
                      </a:r>
                      <a:r>
                        <a:rPr lang="nb-NO" sz="1200" b="1" baseline="0" dirty="0"/>
                        <a:t>risikoområder/koordineringsbehov</a:t>
                      </a:r>
                    </a:p>
                    <a:p>
                      <a:pPr marL="171450" indent="-171450">
                        <a:buClr>
                          <a:srgbClr val="000000"/>
                        </a:buClr>
                        <a:buFont typeface="Arial,Sans-Serif" panose="020B0604020202020204" pitchFamily="34" charset="0"/>
                        <a:buChar char="•"/>
                      </a:pPr>
                      <a:endParaRPr lang="nb-NO" sz="1200" b="0" i="0" u="none" strike="noStrike" noProof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  <a:p>
                      <a:pPr marL="171450" indent="-171450">
                        <a:buClr>
                          <a:srgbClr val="000000"/>
                        </a:buClr>
                        <a:buFont typeface="Arial,Sans-Serif" panose="020B0604020202020204" pitchFamily="34" charset="0"/>
                        <a:buChar char="•"/>
                      </a:pPr>
                      <a:r>
                        <a:rPr lang="nb-NO" sz="1200" b="0" i="0" u="none" strike="noStrike" noProof="0" dirty="0">
                          <a:solidFill>
                            <a:srgbClr val="000000"/>
                          </a:solidFill>
                          <a:latin typeface="Arial"/>
                        </a:rPr>
                        <a:t>FS integrasjon - må tilpasses NTNUs behov (Ketil Nyheim – mulig løsningsforslag her)</a:t>
                      </a:r>
                      <a:endParaRPr lang="en-US" sz="1200" b="0" i="0" u="none" strike="noStrike" noProof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  <a:p>
                      <a:pPr marL="171450" lvl="0" indent="-171450">
                        <a:buClr>
                          <a:srgbClr val="000000"/>
                        </a:buClr>
                        <a:buFont typeface="Arial,Sans-Serif" panose="020B0604020202020204" pitchFamily="34" charset="0"/>
                        <a:buChar char="•"/>
                      </a:pPr>
                      <a:r>
                        <a:rPr lang="nb-NO" sz="1200" b="0" i="0" u="none" strike="noStrike" noProof="0" dirty="0">
                          <a:solidFill>
                            <a:srgbClr val="000000"/>
                          </a:solidFill>
                          <a:latin typeface="Arial"/>
                        </a:rPr>
                        <a:t>EHF Utland tar lag tid å få på plass løsning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458057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5709384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4D62FBC-0E28-C5F4-9914-05EFD39D90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173" y="127441"/>
            <a:ext cx="8381997" cy="646331"/>
          </a:xfrm>
        </p:spPr>
        <p:txBody>
          <a:bodyPr/>
          <a:lstStyle/>
          <a:p>
            <a:r>
              <a:rPr lang="nb-NO" sz="2800"/>
              <a:t>Status</a:t>
            </a:r>
            <a:r>
              <a:rPr lang="nb-NO" sz="3600"/>
              <a:t> </a:t>
            </a:r>
            <a:r>
              <a:rPr lang="nb-NO" sz="2800"/>
              <a:t>september - Prosjektøkonomi</a:t>
            </a:r>
          </a:p>
        </p:txBody>
      </p:sp>
      <p:graphicFrame>
        <p:nvGraphicFramePr>
          <p:cNvPr id="4" name="Tabell 5">
            <a:extLst>
              <a:ext uri="{FF2B5EF4-FFF2-40B4-BE49-F238E27FC236}">
                <a16:creationId xmlns:a16="http://schemas.microsoft.com/office/drawing/2014/main" id="{84D988D0-DEE4-8CF2-BBF7-F69C9F703C9F}"/>
              </a:ext>
            </a:extLst>
          </p:cNvPr>
          <p:cNvGraphicFramePr>
            <a:graphicFrameLocks noGrp="1"/>
          </p:cNvGraphicFramePr>
          <p:nvPr/>
        </p:nvGraphicFramePr>
        <p:xfrm>
          <a:off x="66173" y="852310"/>
          <a:ext cx="8765006" cy="4242903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4382503">
                  <a:extLst>
                    <a:ext uri="{9D8B030D-6E8A-4147-A177-3AD203B41FA5}">
                      <a16:colId xmlns:a16="http://schemas.microsoft.com/office/drawing/2014/main" val="4036808284"/>
                    </a:ext>
                  </a:extLst>
                </a:gridCol>
                <a:gridCol w="4382503">
                  <a:extLst>
                    <a:ext uri="{9D8B030D-6E8A-4147-A177-3AD203B41FA5}">
                      <a16:colId xmlns:a16="http://schemas.microsoft.com/office/drawing/2014/main" val="404333240"/>
                    </a:ext>
                  </a:extLst>
                </a:gridCol>
              </a:tblGrid>
              <a:tr h="1868636">
                <a:tc>
                  <a:txBody>
                    <a:bodyPr/>
                    <a:lstStyle/>
                    <a:p>
                      <a:r>
                        <a:rPr lang="nb-NO" sz="1200" b="1"/>
                        <a:t>Aktiviteter denne perioden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200" b="0"/>
                        <a:t>Opplæring/implementering prosjektsøknadsmodul</a:t>
                      </a:r>
                    </a:p>
                    <a:p>
                      <a:pPr marL="357188" lvl="1" indent="-171450" algn="l" defTabSz="4572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nb-NO" sz="1200" b="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Jobbet, sammen med UiB, med forbedringer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 b="0"/>
                        <a:t>Akseptansetest EVUBEV gjennomført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 b="0"/>
                        <a:t>Jobbet sammen med VIRK med økning i kvalitet</a:t>
                      </a:r>
                    </a:p>
                    <a:p>
                      <a:pPr marL="357188" lvl="1" indent="-171450" algn="l" defTabSz="4572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nb-NO" sz="1200" b="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iltaksplan presentert for økonomisjefene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 b="0"/>
                        <a:t>UiB initierte møte med vurdering av om det skulle etableres en gruppe for EU-prosjekter i BOTT</a:t>
                      </a:r>
                    </a:p>
                    <a:p>
                      <a:pPr marL="357188" marR="0" lvl="1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200" b="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Ja, etableres – møtes ca. hver 2. måned</a:t>
                      </a:r>
                      <a:endParaRPr lang="nb-NO" sz="1200" b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200" b="1" dirty="0"/>
                        <a:t>Gjennomført sist periode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 b="0" dirty="0"/>
                        <a:t>Nettverksmøte med fakultetene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 b="0" dirty="0"/>
                        <a:t>Forberedelse til akseptansetest EVUBEV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 b="0" dirty="0"/>
                        <a:t>Jobbet sammen med VIRK for å forsøke å få mest mulig </a:t>
                      </a:r>
                      <a:r>
                        <a:rPr lang="nb-NO" sz="1200" b="0" dirty="0" err="1"/>
                        <a:t>ajour</a:t>
                      </a:r>
                      <a:r>
                        <a:rPr lang="nb-NO" sz="1200" b="0" dirty="0"/>
                        <a:t> og riktig regnskap pr. 2.tertial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4281607"/>
                  </a:ext>
                </a:extLst>
              </a:tr>
              <a:tr h="2374267">
                <a:tc>
                  <a:txBody>
                    <a:bodyPr/>
                    <a:lstStyle/>
                    <a:p>
                      <a:r>
                        <a:rPr lang="nb-NO" sz="1200" b="1"/>
                        <a:t>Sentrale aktiviteter neste periode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200" b="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sjektssøknadsmodul</a:t>
                      </a:r>
                    </a:p>
                    <a:p>
                      <a:pPr marL="357188" lvl="1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 b="0"/>
                        <a:t>Arbeide med finansieringsregler</a:t>
                      </a:r>
                    </a:p>
                    <a:p>
                      <a:pPr marL="357188" lvl="1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 b="0"/>
                        <a:t>Lage lokale rutiner for innmelding av behov fra brukere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 b="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lanlegge opplæring av EU økonomer som skal ut i org</a:t>
                      </a:r>
                    </a:p>
                    <a:p>
                      <a:pPr marL="171450" lvl="0" indent="-171450" algn="l" defTabSz="4572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nb-NO" sz="1200" b="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jennomføre møter med </a:t>
                      </a:r>
                      <a:r>
                        <a:rPr lang="nb-NO" sz="1200" b="0" kern="120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øk.sjefer</a:t>
                      </a:r>
                      <a:r>
                        <a:rPr lang="nb-NO" sz="1200" b="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 prosessrådgivere PØ og PBO</a:t>
                      </a:r>
                    </a:p>
                    <a:p>
                      <a:pPr marL="357188" lvl="1" indent="-171450" algn="l" defTabSz="4572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nb-NO" sz="1200" b="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ørste aktivitet i tiltaksplan med VIRK for bedre kvalitet</a:t>
                      </a:r>
                    </a:p>
                    <a:p>
                      <a:pPr marL="0" marR="0" lvl="0" indent="-271462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200" b="0"/>
                        <a:t>Samling (fysisk) med PØ-team alle </a:t>
                      </a:r>
                      <a:r>
                        <a:rPr lang="nb-NO" sz="1200" b="0" err="1"/>
                        <a:t>BOTT’ene</a:t>
                      </a:r>
                      <a:r>
                        <a:rPr lang="nb-NO" sz="1200" b="0"/>
                        <a:t> i Tromsø</a:t>
                      </a:r>
                    </a:p>
                    <a:p>
                      <a:pPr marL="0" marR="0" lvl="0" indent="-271462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200" b="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amkjøring i REGPRO for bedre regnskapskvalitet</a:t>
                      </a:r>
                    </a:p>
                    <a:p>
                      <a:pPr lvl="0">
                        <a:buNone/>
                      </a:pPr>
                      <a:endParaRPr lang="nb-NO" sz="1200" b="1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200" b="1" dirty="0"/>
                        <a:t>Problemstillinger/ </a:t>
                      </a:r>
                      <a:r>
                        <a:rPr lang="nb-NO" sz="1200" b="1" baseline="0" dirty="0"/>
                        <a:t>risikoområder/koordineringsbehov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 b="0" baseline="0" dirty="0"/>
                        <a:t>Regnskapsforståelse og systemkunnskap PØ</a:t>
                      </a:r>
                    </a:p>
                    <a:p>
                      <a:pPr marL="357188" marR="0" lvl="1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200" b="0" baseline="0" dirty="0"/>
                        <a:t>Hvordan øke regnskapskvaliteten?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 b="0" baseline="0" dirty="0"/>
                        <a:t>Mange parallelle pågående prosesser som skal håndtere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 b="0" baseline="0" dirty="0"/>
                        <a:t>Utfordrende ressurssituasjon (forbigående)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458057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7059902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2D7352B-0170-1254-1391-B86BB09E2B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06" y="0"/>
            <a:ext cx="8381997" cy="523220"/>
          </a:xfrm>
        </p:spPr>
        <p:txBody>
          <a:bodyPr/>
          <a:lstStyle/>
          <a:p>
            <a:r>
              <a:rPr lang="nb-NO" sz="2800" dirty="0"/>
              <a:t>Status september - Regnskap</a:t>
            </a:r>
            <a:endParaRPr lang="nb-NO" dirty="0"/>
          </a:p>
        </p:txBody>
      </p:sp>
      <p:graphicFrame>
        <p:nvGraphicFramePr>
          <p:cNvPr id="4" name="Tabell 5">
            <a:extLst>
              <a:ext uri="{FF2B5EF4-FFF2-40B4-BE49-F238E27FC236}">
                <a16:creationId xmlns:a16="http://schemas.microsoft.com/office/drawing/2014/main" id="{5AD73FD7-F777-33F3-BA51-ED8AF58EAD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6681885"/>
              </p:ext>
            </p:extLst>
          </p:nvPr>
        </p:nvGraphicFramePr>
        <p:xfrm>
          <a:off x="146246" y="510636"/>
          <a:ext cx="8851508" cy="475488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4425754">
                  <a:extLst>
                    <a:ext uri="{9D8B030D-6E8A-4147-A177-3AD203B41FA5}">
                      <a16:colId xmlns:a16="http://schemas.microsoft.com/office/drawing/2014/main" val="4036808284"/>
                    </a:ext>
                  </a:extLst>
                </a:gridCol>
                <a:gridCol w="4425754">
                  <a:extLst>
                    <a:ext uri="{9D8B030D-6E8A-4147-A177-3AD203B41FA5}">
                      <a16:colId xmlns:a16="http://schemas.microsoft.com/office/drawing/2014/main" val="404333240"/>
                    </a:ext>
                  </a:extLst>
                </a:gridCol>
              </a:tblGrid>
              <a:tr h="2395427">
                <a:tc>
                  <a:txBody>
                    <a:bodyPr/>
                    <a:lstStyle/>
                    <a:p>
                      <a:r>
                        <a:rPr lang="nb-NO" sz="1200" b="1" dirty="0"/>
                        <a:t>Aktiviteter denne perioden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200" b="0" dirty="0"/>
                        <a:t>Faste ukentlige møter med prosessansvarlig BOTT-Regnskap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 b="0" dirty="0"/>
                        <a:t>Tertialrapportering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 b="0" dirty="0"/>
                        <a:t>Opplæring av avleggelse av tertialrapportering innad i gruppen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 b="0" dirty="0"/>
                        <a:t>Akseptansetest EVU-BEV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 b="0" dirty="0"/>
                        <a:t>Jobbet med interne rutiner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 b="0" dirty="0"/>
                        <a:t>Oppfølging av avstemming av balansekonti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200" b="0" dirty="0"/>
                        <a:t>Testet funksjonalitet i </a:t>
                      </a:r>
                      <a:r>
                        <a:rPr lang="nb-NO" sz="1200" b="0" dirty="0" err="1"/>
                        <a:t>prod</a:t>
                      </a:r>
                      <a:r>
                        <a:rPr lang="nb-NO" sz="1200" b="0" dirty="0"/>
                        <a:t> systemet etter oppgradering til ny versjon M 7.11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200" b="0" dirty="0"/>
                        <a:t>Workshop med HR Tjenestesenteret angående ompostering av lønn og reise før ØK sjef møt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200" b="1" dirty="0"/>
                        <a:t>Gjennomført sist periode</a:t>
                      </a:r>
                    </a:p>
                    <a:p>
                      <a:endParaRPr lang="nb-NO" sz="1200" b="1" dirty="0"/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 b="0" dirty="0"/>
                        <a:t>Faste ukentlige møter med prosessansvarlig BOTT-Regnskap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 b="0" dirty="0"/>
                        <a:t>Testet funksjonalitet i test systemet før oppgradering til ny versjon M 7.11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 b="0" dirty="0"/>
                        <a:t>Møte med </a:t>
                      </a:r>
                      <a:r>
                        <a:rPr lang="nb-NO" sz="1200" b="0" dirty="0" err="1"/>
                        <a:t>periodeavslutter</a:t>
                      </a:r>
                      <a:r>
                        <a:rPr lang="nb-NO" sz="1200" b="0" dirty="0"/>
                        <a:t> ved enhet i august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 b="0" dirty="0"/>
                        <a:t>Kontrollaktiviteter mot periodelukking og tertial rapportering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4281607"/>
                  </a:ext>
                </a:extLst>
              </a:tr>
              <a:tr h="2163984">
                <a:tc>
                  <a:txBody>
                    <a:bodyPr/>
                    <a:lstStyle/>
                    <a:p>
                      <a:r>
                        <a:rPr lang="nb-NO" sz="1200" b="1" dirty="0"/>
                        <a:t>Sentrale aktiviteter neste periode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 b="0" dirty="0"/>
                        <a:t>Jobbe med interne rutiner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 b="0" dirty="0"/>
                        <a:t>Planlegge konvertering av EVU-BEV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 b="0" dirty="0"/>
                        <a:t>Arbeidsgruppe i BOTT regi og DFØ vedr sensitive data i Unit4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 b="0" dirty="0"/>
                        <a:t>Workshop for organisasjonsendringsprosessen fra start til mål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 b="0" dirty="0"/>
                        <a:t>Videre workshop med HR Tjenestesenteret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 b="0" dirty="0"/>
                        <a:t>Opplæring til HR Tjenestesenteret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 b="0" dirty="0"/>
                        <a:t>Vurdere innføring av prosessrådgiver regnskap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 b="0" dirty="0"/>
                        <a:t>Utvikle rapporter i Unit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200" b="1" dirty="0"/>
                        <a:t>Problemstillinger/ </a:t>
                      </a:r>
                      <a:r>
                        <a:rPr lang="nb-NO" sz="1200" b="1" baseline="0" dirty="0"/>
                        <a:t>risikoområder/koordineringsbehov</a:t>
                      </a:r>
                    </a:p>
                    <a:p>
                      <a:endParaRPr lang="nb-NO" sz="1200" b="1" baseline="0" dirty="0"/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 dirty="0"/>
                        <a:t>NTNU – behov for avklaring av arbeidsoppgaver som tilhører prosessen, men utføres i annen proses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 dirty="0"/>
                        <a:t>Ser behov for info/opplæring om de regnskapsmessige føringene som skjer ved anlegg, avsetninger og periodiseringer til alle roller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 dirty="0"/>
                        <a:t>Ser behov for mer oppfølging mot de som har rollen anleggshåndterer</a:t>
                      </a:r>
                    </a:p>
                    <a:p>
                      <a:pPr marL="628650" lvl="1" indent="-171450">
                        <a:buFont typeface="Arial" panose="020B0604020202020204" pitchFamily="34" charset="0"/>
                        <a:buChar char="•"/>
                      </a:pPr>
                      <a:endParaRPr lang="nb-NO" sz="1200" dirty="0"/>
                    </a:p>
                    <a:p>
                      <a:pPr marL="628650" lvl="1" indent="-171450">
                        <a:buFont typeface="Arial" panose="020B0604020202020204" pitchFamily="34" charset="0"/>
                        <a:buChar char="•"/>
                      </a:pPr>
                      <a:endParaRPr lang="nb-NO" sz="1200" dirty="0"/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458057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7333323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44012D53-4523-2EF3-A21E-CC7407DE44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2956466"/>
            <a:ext cx="7772400" cy="1323439"/>
          </a:xfrm>
        </p:spPr>
        <p:txBody>
          <a:bodyPr/>
          <a:lstStyle/>
          <a:p>
            <a:r>
              <a:rPr lang="nb-NO" dirty="0"/>
              <a:t>Etablering Tverrfaglig team på FTI området?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87369549-BA84-F509-3991-33CCD4B182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2313" y="1831325"/>
            <a:ext cx="7772400" cy="1125140"/>
          </a:xfrm>
        </p:spPr>
        <p:txBody>
          <a:bodyPr/>
          <a:lstStyle/>
          <a:p>
            <a:r>
              <a:rPr lang="nb-NO" dirty="0"/>
              <a:t>Diskusjonsspørsmål</a:t>
            </a:r>
          </a:p>
        </p:txBody>
      </p:sp>
    </p:spTree>
    <p:extLst>
      <p:ext uri="{BB962C8B-B14F-4D97-AF65-F5344CB8AC3E}">
        <p14:creationId xmlns:p14="http://schemas.microsoft.com/office/powerpoint/2010/main" val="397902115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916CD5CC-D401-55B7-C69A-DA430AEAB7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646331"/>
          </a:xfrm>
        </p:spPr>
        <p:txBody>
          <a:bodyPr/>
          <a:lstStyle/>
          <a:p>
            <a:r>
              <a:rPr lang="nb-NO" dirty="0"/>
              <a:t>Tverrfaglig team FTI-området?</a:t>
            </a:r>
          </a:p>
        </p:txBody>
      </p:sp>
      <p:sp>
        <p:nvSpPr>
          <p:cNvPr id="5" name="Plassholder for innhold 4">
            <a:extLst>
              <a:ext uri="{FF2B5EF4-FFF2-40B4-BE49-F238E27FC236}">
                <a16:creationId xmlns:a16="http://schemas.microsoft.com/office/drawing/2014/main" id="{CC01E489-B812-696A-3B07-8D0B9D3B92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0597" y="1282890"/>
            <a:ext cx="8381997" cy="3300259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nb-NO" dirty="0"/>
              <a:t>Prosessen Fordring til innbetaling har mange brukere og det er utfordrende å fange opp relevante problemstillinger/ forbedringsforslag etc. for nivå 1. </a:t>
            </a:r>
          </a:p>
          <a:p>
            <a:pPr marL="0" indent="0">
              <a:buNone/>
            </a:pPr>
            <a:endParaRPr lang="nb-NO" dirty="0"/>
          </a:p>
          <a:p>
            <a:pPr marL="0" indent="0">
              <a:buNone/>
            </a:pPr>
            <a:r>
              <a:rPr lang="nb-NO" b="1" dirty="0"/>
              <a:t>Muligheten for å etablere et tverrfaglig team, bestående av fagressurser fra nivå 1,2 og 3 ønskes diskutert</a:t>
            </a:r>
            <a:r>
              <a:rPr lang="nb-NO" dirty="0"/>
              <a:t>.</a:t>
            </a:r>
          </a:p>
          <a:p>
            <a:pPr marL="0" indent="0">
              <a:buNone/>
            </a:pPr>
            <a:endParaRPr lang="nb-NO" dirty="0"/>
          </a:p>
          <a:p>
            <a:pPr marL="0" indent="0">
              <a:buNone/>
            </a:pPr>
            <a:r>
              <a:rPr lang="nb-NO" dirty="0"/>
              <a:t>I teamet kan problemstillinger som er relevant for enhetene tas opp og det kan jobbes med forbedringsforslag etc. </a:t>
            </a:r>
          </a:p>
        </p:txBody>
      </p:sp>
    </p:spTree>
    <p:extLst>
      <p:ext uri="{BB962C8B-B14F-4D97-AF65-F5344CB8AC3E}">
        <p14:creationId xmlns:p14="http://schemas.microsoft.com/office/powerpoint/2010/main" val="209753729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160987C-3D36-963B-601B-66A4A6BCE8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>
                <a:solidFill>
                  <a:srgbClr val="0C4788"/>
                </a:solidFill>
              </a:rPr>
              <a:t>Kommende hendelser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BFD3D9C-FC85-B294-64D8-35A18B615E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6573" y="858459"/>
            <a:ext cx="8517624" cy="4190143"/>
          </a:xfrm>
        </p:spPr>
        <p:txBody>
          <a:bodyPr vert="horz" lIns="91440" tIns="45720" rIns="91440" bIns="45720" rtlCol="0" anchor="t">
            <a:normAutofit fontScale="47500" lnSpcReduction="20000"/>
          </a:bodyPr>
          <a:lstStyle/>
          <a:p>
            <a:pPr marL="0" indent="0" algn="l">
              <a:buNone/>
            </a:pPr>
            <a:endParaRPr lang="nb-NO" b="1" dirty="0"/>
          </a:p>
          <a:p>
            <a:pPr marL="0" indent="0">
              <a:buNone/>
            </a:pPr>
            <a:r>
              <a:rPr lang="nb-NO" b="1" dirty="0">
                <a:effectLst/>
              </a:rPr>
              <a:t>DFØ planlegger vedlikehold av lønns- og økonomisystemene på følgende datoer i oktober:  </a:t>
            </a:r>
            <a:endParaRPr lang="nb-NO" dirty="0">
              <a:effectLst/>
            </a:endParaRPr>
          </a:p>
          <a:p>
            <a:pPr marL="0" indent="0">
              <a:buNone/>
            </a:pPr>
            <a:br>
              <a:rPr lang="nb-NO" dirty="0">
                <a:effectLst/>
              </a:rPr>
            </a:br>
            <a:endParaRPr lang="nb-NO" dirty="0">
              <a:effectLst/>
            </a:endParaRPr>
          </a:p>
          <a:p>
            <a:pPr marL="0" indent="0">
              <a:buNone/>
            </a:pPr>
            <a:r>
              <a:rPr lang="nb-NO" b="1" dirty="0">
                <a:effectLst/>
              </a:rPr>
              <a:t>Lørdag 21. oktober, kl. 07.00 – 15.00.</a:t>
            </a:r>
            <a:r>
              <a:rPr lang="nb-NO" dirty="0">
                <a:effectLst/>
              </a:rPr>
              <a:t> </a:t>
            </a:r>
          </a:p>
          <a:p>
            <a:pPr marL="457200" lvl="1" indent="0">
              <a:buNone/>
            </a:pPr>
            <a:r>
              <a:rPr lang="nb-NO" dirty="0">
                <a:effectLst/>
              </a:rPr>
              <a:t>Det vil forekomme nedetid i Unit4 ERP og SAP på grunn av teknisk vedlikehold (til kl. 14.00).</a:t>
            </a:r>
          </a:p>
          <a:p>
            <a:pPr marL="457200" lvl="1" indent="0">
              <a:buNone/>
            </a:pPr>
            <a:r>
              <a:rPr lang="nb-NO" dirty="0">
                <a:effectLst/>
              </a:rPr>
              <a:t>Systemvedlikehold fører til at Innsikt for HR og lønn vil være utilgjengelig i deler av denne perioden.</a:t>
            </a:r>
          </a:p>
          <a:p>
            <a:pPr marL="0" indent="0">
              <a:buNone/>
            </a:pPr>
            <a:br>
              <a:rPr lang="nb-NO" dirty="0">
                <a:effectLst/>
              </a:rPr>
            </a:br>
            <a:endParaRPr lang="nb-NO" dirty="0">
              <a:effectLst/>
            </a:endParaRPr>
          </a:p>
          <a:p>
            <a:pPr marL="0" indent="0">
              <a:buNone/>
            </a:pPr>
            <a:r>
              <a:rPr lang="nb-NO" b="1" dirty="0">
                <a:effectLst/>
              </a:rPr>
              <a:t>Torsdag 26. oktober kl. 09.00 – søndag 29. oktober ved midnatt.</a:t>
            </a:r>
            <a:r>
              <a:rPr lang="nb-NO" dirty="0">
                <a:effectLst/>
              </a:rPr>
              <a:t>  </a:t>
            </a:r>
          </a:p>
          <a:p>
            <a:pPr marL="457200" lvl="1" indent="0">
              <a:buNone/>
            </a:pPr>
            <a:r>
              <a:rPr lang="nb-NO" dirty="0">
                <a:effectLst/>
              </a:rPr>
              <a:t>Oppgradering av Tilgangsportalen gjør at det ikke vil være mulig å bestille, endre eller avslutte tilganger til brukere i </a:t>
            </a:r>
            <a:r>
              <a:rPr lang="nb-NO" dirty="0" err="1">
                <a:effectLst/>
              </a:rPr>
              <a:t>DFØs</a:t>
            </a:r>
            <a:r>
              <a:rPr lang="nb-NO" dirty="0">
                <a:effectLst/>
              </a:rPr>
              <a:t> løsninger i denne perioden.</a:t>
            </a:r>
          </a:p>
          <a:p>
            <a:pPr marL="457200" lvl="1" indent="0">
              <a:buNone/>
            </a:pPr>
            <a:endParaRPr lang="nb-NO" dirty="0">
              <a:effectLst/>
            </a:endParaRPr>
          </a:p>
          <a:p>
            <a:pPr marL="457200" lvl="1" indent="0">
              <a:buNone/>
            </a:pPr>
            <a:r>
              <a:rPr lang="nb-NO" dirty="0">
                <a:effectLst/>
              </a:rPr>
              <a:t>Pålogging vil fungere som normalt.  </a:t>
            </a:r>
          </a:p>
          <a:p>
            <a:pPr marL="0" indent="0">
              <a:buNone/>
            </a:pPr>
            <a:br>
              <a:rPr lang="nb-NO" dirty="0">
                <a:effectLst/>
              </a:rPr>
            </a:br>
            <a:endParaRPr lang="nb-NO" dirty="0">
              <a:effectLst/>
            </a:endParaRPr>
          </a:p>
          <a:p>
            <a:pPr marL="0" indent="0">
              <a:buNone/>
            </a:pPr>
            <a:r>
              <a:rPr lang="nb-NO" b="1" dirty="0">
                <a:effectLst/>
              </a:rPr>
              <a:t>Lørdag 28. oktober, kl. 08.00 – 13.00.</a:t>
            </a:r>
            <a:r>
              <a:rPr lang="nb-NO" dirty="0">
                <a:effectLst/>
              </a:rPr>
              <a:t> 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b-NO" dirty="0">
                <a:effectLst/>
              </a:rPr>
              <a:t>Vedlikehold kan føre til noe ustabilitet i økonomisystemet (Unit4).</a:t>
            </a:r>
          </a:p>
          <a:p>
            <a:pPr lvl="1"/>
            <a:endParaRPr lang="nb-NO" dirty="0"/>
          </a:p>
          <a:p>
            <a:pPr marL="0" indent="0">
              <a:buNone/>
            </a:pPr>
            <a:endParaRPr lang="nb-NO" dirty="0"/>
          </a:p>
          <a:p>
            <a:pPr marL="0" indent="0">
              <a:buNone/>
            </a:pPr>
            <a:r>
              <a:rPr lang="nb-NO" dirty="0"/>
              <a:t>Abonner gjerne på driftsmeldinger fra DFØ på: </a:t>
            </a:r>
            <a:r>
              <a:rPr lang="nb-NO" dirty="0">
                <a:hlinkClick r:id="rId3"/>
              </a:rPr>
              <a:t>DFØ Status (dfo.no)</a:t>
            </a:r>
            <a:endParaRPr lang="nb-NO" dirty="0"/>
          </a:p>
          <a:p>
            <a:pPr marL="0" indent="0">
              <a:buNone/>
            </a:pPr>
            <a:endParaRPr lang="nb-NO" dirty="0"/>
          </a:p>
          <a:p>
            <a:pPr marL="0" indent="0">
              <a:buNone/>
            </a:pPr>
            <a:r>
              <a:rPr lang="nb-NO" dirty="0"/>
              <a:t>Meldingskanalen vi bruker for å informere : Felles økonomi / HR informasjon</a:t>
            </a:r>
          </a:p>
          <a:p>
            <a:pPr lvl="1"/>
            <a:r>
              <a:rPr lang="nb-NO" dirty="0"/>
              <a:t>Driftsmeldinger</a:t>
            </a:r>
          </a:p>
          <a:p>
            <a:pPr lvl="1"/>
            <a:r>
              <a:rPr lang="nb-NO" dirty="0"/>
              <a:t>Endringer etc.</a:t>
            </a:r>
          </a:p>
        </p:txBody>
      </p:sp>
    </p:spTree>
    <p:extLst>
      <p:ext uri="{BB962C8B-B14F-4D97-AF65-F5344CB8AC3E}">
        <p14:creationId xmlns:p14="http://schemas.microsoft.com/office/powerpoint/2010/main" val="266572887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4A221B0-2F8E-6E02-ABC9-899EA21E2E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2" y="605748"/>
            <a:ext cx="8381997" cy="646331"/>
          </a:xfrm>
        </p:spPr>
        <p:txBody>
          <a:bodyPr/>
          <a:lstStyle/>
          <a:p>
            <a:r>
              <a:rPr lang="nb-NO">
                <a:solidFill>
                  <a:srgbClr val="0C4788"/>
                </a:solidFill>
              </a:rPr>
              <a:t>Avslutning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9473E7D-AE59-DC7C-3CE2-288E47B754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6573" y="1677880"/>
            <a:ext cx="8381997" cy="2916743"/>
          </a:xfrm>
        </p:spPr>
        <p:txBody>
          <a:bodyPr/>
          <a:lstStyle/>
          <a:p>
            <a:endParaRPr lang="nb-NO"/>
          </a:p>
          <a:p>
            <a:endParaRPr lang="nb-NO"/>
          </a:p>
          <a:p>
            <a:pPr marL="0" indent="0">
              <a:buNone/>
            </a:pPr>
            <a:r>
              <a:rPr lang="nb-NO">
                <a:solidFill>
                  <a:schemeClr val="bg2">
                    <a:lumMod val="25000"/>
                  </a:schemeClr>
                </a:solidFill>
              </a:rPr>
              <a:t>Spørsmål/ kommentarer/ innspill til neste møte?</a:t>
            </a:r>
          </a:p>
        </p:txBody>
      </p:sp>
    </p:spTree>
    <p:extLst>
      <p:ext uri="{BB962C8B-B14F-4D97-AF65-F5344CB8AC3E}">
        <p14:creationId xmlns:p14="http://schemas.microsoft.com/office/powerpoint/2010/main" val="26679258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A6CADC98-C797-09A8-416E-85855D521E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323439"/>
          </a:xfrm>
        </p:spPr>
        <p:txBody>
          <a:bodyPr/>
          <a:lstStyle/>
          <a:p>
            <a:r>
              <a:rPr lang="nb-NO">
                <a:solidFill>
                  <a:schemeClr val="bg2">
                    <a:lumMod val="25000"/>
                  </a:schemeClr>
                </a:solidFill>
              </a:rPr>
              <a:t>Hva har vi jobbet med siden sist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C03A0A4D-7AD1-DED8-B52F-AE440510565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Status</a:t>
            </a:r>
          </a:p>
        </p:txBody>
      </p:sp>
    </p:spTree>
    <p:extLst>
      <p:ext uri="{BB962C8B-B14F-4D97-AF65-F5344CB8AC3E}">
        <p14:creationId xmlns:p14="http://schemas.microsoft.com/office/powerpoint/2010/main" val="28706568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/>
          <p:cNvSpPr/>
          <p:nvPr/>
        </p:nvSpPr>
        <p:spPr>
          <a:xfrm>
            <a:off x="1143000" y="0"/>
            <a:ext cx="6858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 dirty="0"/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530845" y="1878913"/>
            <a:ext cx="5829300" cy="1508105"/>
          </a:xfrm>
        </p:spPr>
        <p:txBody>
          <a:bodyPr/>
          <a:lstStyle/>
          <a:p>
            <a:r>
              <a:rPr lang="nb-NO" dirty="0"/>
              <a:t>EVUBEV – implementering</a:t>
            </a:r>
            <a:br>
              <a:rPr lang="nb-NO" dirty="0"/>
            </a:br>
            <a:r>
              <a:rPr lang="nb-NO" sz="2000" dirty="0">
                <a:solidFill>
                  <a:schemeClr val="bg1">
                    <a:lumMod val="65000"/>
                  </a:schemeClr>
                </a:solidFill>
              </a:rPr>
              <a:t>ved Terje Ruud</a:t>
            </a:r>
          </a:p>
        </p:txBody>
      </p:sp>
      <p:grpSp>
        <p:nvGrpSpPr>
          <p:cNvPr id="6" name="Gruppe 5"/>
          <p:cNvGrpSpPr/>
          <p:nvPr/>
        </p:nvGrpSpPr>
        <p:grpSpPr>
          <a:xfrm>
            <a:off x="6030821" y="269759"/>
            <a:ext cx="1616542" cy="1313494"/>
            <a:chOff x="6429510" y="337780"/>
            <a:chExt cx="2155389" cy="1751325"/>
          </a:xfrm>
        </p:grpSpPr>
        <p:sp>
          <p:nvSpPr>
            <p:cNvPr id="5" name="Ellipse 4"/>
            <p:cNvSpPr/>
            <p:nvPr/>
          </p:nvSpPr>
          <p:spPr>
            <a:xfrm>
              <a:off x="7596009" y="337780"/>
              <a:ext cx="988890" cy="988890"/>
            </a:xfrm>
            <a:prstGeom prst="ellipse">
              <a:avLst/>
            </a:prstGeom>
            <a:solidFill>
              <a:srgbClr val="0D3475">
                <a:alpha val="6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sz="1350"/>
            </a:p>
          </p:txBody>
        </p:sp>
        <p:sp>
          <p:nvSpPr>
            <p:cNvPr id="12" name="Ellipse 11"/>
            <p:cNvSpPr/>
            <p:nvPr/>
          </p:nvSpPr>
          <p:spPr>
            <a:xfrm>
              <a:off x="6815720" y="641606"/>
              <a:ext cx="475240" cy="475240"/>
            </a:xfrm>
            <a:prstGeom prst="ellipse">
              <a:avLst/>
            </a:prstGeom>
            <a:solidFill>
              <a:srgbClr val="0D347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sz="1350"/>
            </a:p>
          </p:txBody>
        </p:sp>
        <p:sp>
          <p:nvSpPr>
            <p:cNvPr id="14" name="Ellipse 13"/>
            <p:cNvSpPr/>
            <p:nvPr/>
          </p:nvSpPr>
          <p:spPr>
            <a:xfrm>
              <a:off x="6995176" y="1326670"/>
              <a:ext cx="762435" cy="762435"/>
            </a:xfrm>
            <a:prstGeom prst="ellipse">
              <a:avLst/>
            </a:prstGeom>
            <a:solidFill>
              <a:srgbClr val="BBAC7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sz="1350"/>
            </a:p>
          </p:txBody>
        </p:sp>
        <p:sp>
          <p:nvSpPr>
            <p:cNvPr id="15" name="Ellipse 14"/>
            <p:cNvSpPr/>
            <p:nvPr/>
          </p:nvSpPr>
          <p:spPr>
            <a:xfrm>
              <a:off x="6429510" y="1339986"/>
              <a:ext cx="218266" cy="218266"/>
            </a:xfrm>
            <a:prstGeom prst="ellipse">
              <a:avLst/>
            </a:prstGeom>
            <a:solidFill>
              <a:srgbClr val="BBAC76">
                <a:alpha val="6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sz="1350"/>
            </a:p>
          </p:txBody>
        </p:sp>
      </p:grpSp>
      <p:pic>
        <p:nvPicPr>
          <p:cNvPr id="13" name="Bilde 12">
            <a:extLst>
              <a:ext uri="{FF2B5EF4-FFF2-40B4-BE49-F238E27FC236}">
                <a16:creationId xmlns:a16="http://schemas.microsoft.com/office/drawing/2014/main" id="{2302874F-91E4-2C4F-95FC-E62146C4C3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82259" y="469497"/>
            <a:ext cx="2410698" cy="621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66791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9BA41B3-4160-3D42-B7C1-A4A5043ECA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EVUBEV - implementering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20BD1264-9082-834A-A2C6-A3944D4898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7322" y="969775"/>
            <a:ext cx="6172200" cy="4100676"/>
          </a:xfrm>
        </p:spPr>
        <p:txBody>
          <a:bodyPr>
            <a:normAutofit fontScale="85000" lnSpcReduction="10000"/>
          </a:bodyPr>
          <a:lstStyle/>
          <a:p>
            <a:r>
              <a:rPr lang="nb-NO" dirty="0"/>
              <a:t>Implementeres som løsning i Unit4 – 28. oktober</a:t>
            </a:r>
          </a:p>
          <a:p>
            <a:pPr lvl="1"/>
            <a:r>
              <a:rPr lang="nb-NO" dirty="0"/>
              <a:t>Ble testet i september</a:t>
            </a:r>
          </a:p>
          <a:p>
            <a:pPr lvl="2"/>
            <a:r>
              <a:rPr lang="nb-NO" dirty="0"/>
              <a:t>EVUBEV og Regnskap fungerte som forventet</a:t>
            </a:r>
          </a:p>
          <a:p>
            <a:pPr lvl="3"/>
            <a:r>
              <a:rPr lang="nb-NO" dirty="0"/>
              <a:t>Budsjett (som NTNU ikke benytter) hadde 1 åpent avvik – stopper ikke implementering</a:t>
            </a:r>
          </a:p>
          <a:p>
            <a:pPr lvl="1"/>
            <a:r>
              <a:rPr lang="nb-NO" dirty="0"/>
              <a:t>Kun NTNU som tar i bruk ved implementering</a:t>
            </a:r>
          </a:p>
          <a:p>
            <a:pPr lvl="2"/>
            <a:r>
              <a:rPr lang="nb-NO" dirty="0"/>
              <a:t>Øvrige har vært litt avventende, men større interesse nå</a:t>
            </a:r>
          </a:p>
          <a:p>
            <a:pPr lvl="1"/>
            <a:r>
              <a:rPr lang="nb-NO" dirty="0"/>
              <a:t>Samtidig - nytt registreringsvindu for BOA-budsjett</a:t>
            </a:r>
          </a:p>
          <a:p>
            <a:pPr lvl="2"/>
            <a:r>
              <a:rPr lang="nb-NO" dirty="0"/>
              <a:t>Mer rent/intuitivt samt mer funksjonalitet for registrering/endring budsjett</a:t>
            </a:r>
          </a:p>
          <a:p>
            <a:pPr lvl="2"/>
            <a:endParaRPr lang="nb-NO" dirty="0"/>
          </a:p>
          <a:p>
            <a:r>
              <a:rPr lang="nb-NO" dirty="0"/>
              <a:t>Faktisk overgang NTNU – ved periodelukking oktober</a:t>
            </a:r>
          </a:p>
          <a:p>
            <a:endParaRPr lang="nb-NO" dirty="0"/>
          </a:p>
          <a:p>
            <a:pPr lvl="1"/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552190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9BA41B3-4160-3D42-B7C1-A4A5043ECA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EVUBEV - løsning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20BD1264-9082-834A-A2C6-A3944D4898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52636" y="1042824"/>
            <a:ext cx="6172200" cy="4100676"/>
          </a:xfrm>
        </p:spPr>
        <p:txBody>
          <a:bodyPr>
            <a:normAutofit fontScale="92500" lnSpcReduction="20000"/>
          </a:bodyPr>
          <a:lstStyle/>
          <a:p>
            <a:endParaRPr lang="nb-NO" dirty="0"/>
          </a:p>
          <a:p>
            <a:r>
              <a:rPr lang="nb-NO" dirty="0"/>
              <a:t>Løsning</a:t>
            </a:r>
          </a:p>
          <a:p>
            <a:pPr lvl="1"/>
            <a:r>
              <a:rPr lang="nb-NO" dirty="0"/>
              <a:t>NTNU har vært i førersetet</a:t>
            </a:r>
          </a:p>
          <a:p>
            <a:pPr lvl="2"/>
            <a:r>
              <a:rPr lang="nb-NO" dirty="0"/>
              <a:t>Utgangspunkt var løsningen vi hadde i Maconomy</a:t>
            </a:r>
          </a:p>
          <a:p>
            <a:pPr lvl="1"/>
            <a:r>
              <a:rPr lang="nb-NO" dirty="0"/>
              <a:t>2 ny Protyper</a:t>
            </a:r>
          </a:p>
          <a:p>
            <a:pPr lvl="2"/>
            <a:r>
              <a:rPr lang="nb-NO" dirty="0"/>
              <a:t>E1	EVUBEV – Ikke-økonomisk aktivitet</a:t>
            </a:r>
          </a:p>
          <a:p>
            <a:pPr lvl="2"/>
            <a:r>
              <a:rPr lang="nb-NO" dirty="0"/>
              <a:t>E2	EVUBEV – Økonomisk aktivitet</a:t>
            </a:r>
          </a:p>
          <a:p>
            <a:pPr lvl="1"/>
            <a:r>
              <a:rPr lang="nb-NO" dirty="0"/>
              <a:t>Får tilsvarende funksjonalitet som for BOA</a:t>
            </a:r>
          </a:p>
          <a:p>
            <a:pPr lvl="2"/>
            <a:r>
              <a:rPr lang="nb-NO" dirty="0"/>
              <a:t>Frikjøp/timeføring</a:t>
            </a:r>
          </a:p>
          <a:p>
            <a:pPr lvl="2"/>
            <a:r>
              <a:rPr lang="nb-NO" dirty="0"/>
              <a:t>Indirekte kostnader (arbeidsinnsats)</a:t>
            </a:r>
          </a:p>
          <a:p>
            <a:pPr lvl="2"/>
            <a:r>
              <a:rPr lang="nb-NO" dirty="0"/>
              <a:t>Egenfinansiering (for ikke-økonomisk aktivitet)</a:t>
            </a:r>
          </a:p>
          <a:p>
            <a:pPr lvl="2"/>
            <a:r>
              <a:rPr lang="nb-NO" dirty="0"/>
              <a:t>Inntektsføring i takt med aktivitet (og potensielt overforbruk)</a:t>
            </a:r>
          </a:p>
          <a:p>
            <a:pPr lvl="2"/>
            <a:r>
              <a:rPr lang="nb-NO" i="1" dirty="0"/>
              <a:t>Ikke automatikk for indirekte kostnader studenter</a:t>
            </a:r>
          </a:p>
          <a:p>
            <a:pPr lvl="1"/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8448147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D127B0-004E-5E35-6CCB-2141427349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Hva skjer </a:t>
            </a:r>
            <a:r>
              <a:rPr lang="nb-NO"/>
              <a:t>ved implementering?</a:t>
            </a:r>
            <a:endParaRPr lang="nb-NO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584A5D-8F08-FA73-06C3-5AEA029900A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68580" tIns="34290" rIns="68580" bIns="34290" rtlCol="0" anchor="t">
            <a:normAutofit fontScale="85000" lnSpcReduction="20000"/>
          </a:bodyPr>
          <a:lstStyle/>
          <a:p>
            <a:r>
              <a:rPr lang="nb-NO" dirty="0"/>
              <a:t>EVUBEV får eget avregningsdelprosjekt</a:t>
            </a:r>
          </a:p>
          <a:p>
            <a:pPr lvl="1"/>
            <a:r>
              <a:rPr lang="nb-NO" dirty="0"/>
              <a:t>999997100</a:t>
            </a:r>
          </a:p>
          <a:p>
            <a:pPr lvl="2"/>
            <a:r>
              <a:rPr lang="nb-NO" dirty="0"/>
              <a:t>Så langt (både tom 2022 og hittil i 2023) har BOA-avregningsdelprosjekt vært brukt</a:t>
            </a:r>
          </a:p>
          <a:p>
            <a:pPr lvl="1"/>
            <a:r>
              <a:rPr lang="nb-NO" dirty="0"/>
              <a:t>Egen kontoserie (95xx) til samspill </a:t>
            </a:r>
          </a:p>
          <a:p>
            <a:pPr lvl="2"/>
            <a:r>
              <a:rPr lang="nb-NO" dirty="0"/>
              <a:t>Har allerede blitt brukt i hele 2023</a:t>
            </a:r>
          </a:p>
          <a:p>
            <a:pPr lvl="1"/>
            <a:endParaRPr lang="nb-NO" dirty="0"/>
          </a:p>
          <a:p>
            <a:r>
              <a:rPr lang="nb-NO" dirty="0"/>
              <a:t>Interne EVU-prosjekter i Unit4 blir konvertert</a:t>
            </a:r>
          </a:p>
          <a:p>
            <a:pPr lvl="1"/>
            <a:r>
              <a:rPr lang="nb-NO" dirty="0"/>
              <a:t>Konverteres (uten problemer) til ny protype</a:t>
            </a:r>
          </a:p>
          <a:p>
            <a:pPr lvl="1"/>
            <a:r>
              <a:rPr lang="nb-NO" dirty="0"/>
              <a:t>Vi har hittil i 2023 gjort manuelt arbeid vedr. indirekte kostnader og inntektsføring</a:t>
            </a:r>
          </a:p>
          <a:p>
            <a:pPr lvl="1"/>
            <a:r>
              <a:rPr lang="nb-NO" dirty="0"/>
              <a:t>Prosjekter fra 2022 ble konvertert 1.1. og konverteres på nytt nå</a:t>
            </a:r>
          </a:p>
          <a:p>
            <a:pPr lvl="1"/>
            <a:endParaRPr lang="nb-NO" dirty="0"/>
          </a:p>
          <a:p>
            <a:r>
              <a:rPr lang="nb-NO" dirty="0"/>
              <a:t>Avsluttede EVU-prosjekter vil bli </a:t>
            </a:r>
            <a:r>
              <a:rPr lang="nb-NO" dirty="0" err="1"/>
              <a:t>systemmessig</a:t>
            </a:r>
            <a:r>
              <a:rPr lang="nb-NO" dirty="0"/>
              <a:t> avsluttet - og resultat regnskapsført - i løpet av november</a:t>
            </a:r>
          </a:p>
          <a:p>
            <a:pPr marL="0" indent="0">
              <a:buNone/>
            </a:pP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1521993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8DD7CA-74A2-F912-BD8D-0554884766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Anne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A2FF51-85AF-7083-1E55-D8FFC62F295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dirty="0"/>
              <a:t>Prosjektøkonomer må håndtere prosjektene</a:t>
            </a:r>
          </a:p>
          <a:p>
            <a:r>
              <a:rPr lang="nb-NO" dirty="0"/>
              <a:t>Informasjon til prosjektøkonomene</a:t>
            </a:r>
          </a:p>
          <a:p>
            <a:pPr lvl="1"/>
            <a:r>
              <a:rPr lang="nb-NO" dirty="0"/>
              <a:t>PØ cafe 30.10 kl. 09.00</a:t>
            </a:r>
          </a:p>
        </p:txBody>
      </p:sp>
    </p:spTree>
    <p:extLst>
      <p:ext uri="{BB962C8B-B14F-4D97-AF65-F5344CB8AC3E}">
        <p14:creationId xmlns:p14="http://schemas.microsoft.com/office/powerpoint/2010/main" val="19434631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72311342167863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" val="843b4b3b-e366-4ea0-95c0-617be847e46c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" val="c87f4acd-0960-4849-abc9-1fb2cdb5e43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" val="f6405664-947f-4a81-9d0d-6f16e8a75ba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" val="2836d4e3-1839-43f7-98e0-d3efc5c55acb"/>
</p:tagLst>
</file>

<file path=ppt/theme/theme1.xml><?xml version="1.0" encoding="utf-8"?>
<a:theme xmlns:a="http://schemas.openxmlformats.org/drawingml/2006/main" name="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tnu_nn_16_9" id="{4910B9C1-D771-E44C-AB7F-12A684D03AF5}" vid="{81D91624-0E0F-3E4C-94FB-A3058ED54ED7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4B589F35622BF45A5FF53F3DCC5878D" ma:contentTypeVersion="6" ma:contentTypeDescription="Create a new document." ma:contentTypeScope="" ma:versionID="90f8a0f94eb5652bfaec1996ae7b35a7">
  <xsd:schema xmlns:xsd="http://www.w3.org/2001/XMLSchema" xmlns:xs="http://www.w3.org/2001/XMLSchema" xmlns:p="http://schemas.microsoft.com/office/2006/metadata/properties" xmlns:ns2="023a9d60-9e4d-4833-8448-44b4073b5c44" xmlns:ns3="b6591109-79b0-4135-b59a-0642cc2f2c78" targetNamespace="http://schemas.microsoft.com/office/2006/metadata/properties" ma:root="true" ma:fieldsID="d074c8f7517716e719ddfc4690270026" ns2:_="" ns3:_="">
    <xsd:import namespace="023a9d60-9e4d-4833-8448-44b4073b5c44"/>
    <xsd:import namespace="b6591109-79b0-4135-b59a-0642cc2f2c7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Kommentar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3a9d60-9e4d-4833-8448-44b4073b5c4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Kommentar" ma:index="12" nillable="true" ma:displayName="Kommentar" ma:format="Dropdown" ma:internalName="Kommentar">
      <xsd:simpleType>
        <xsd:restriction base="dms:Text">
          <xsd:maxLength value="255"/>
        </xsd:restriction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6591109-79b0-4135-b59a-0642cc2f2c7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Kommentar xmlns="023a9d60-9e4d-4833-8448-44b4073b5c44" xsi:nil="true"/>
    <SharedWithUsers xmlns="b6591109-79b0-4135-b59a-0642cc2f2c78">
      <UserInfo>
        <DisplayName>Asbjørn J. Wexsahl</DisplayName>
        <AccountId>24</AccountId>
        <AccountType/>
      </UserInfo>
      <UserInfo>
        <DisplayName>Maren Ellingsberg</DisplayName>
        <AccountId>25</AccountId>
        <AccountType/>
      </UserInfo>
      <UserInfo>
        <DisplayName>Ingrid Volden</DisplayName>
        <AccountId>22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B2D47A62-1A6D-4911-BCBE-6AFCE00BE6A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0BC3E84-5999-4A11-A185-290706DFA001}">
  <ds:schemaRefs>
    <ds:schemaRef ds:uri="023a9d60-9e4d-4833-8448-44b4073b5c44"/>
    <ds:schemaRef ds:uri="b6591109-79b0-4135-b59a-0642cc2f2c7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B5E0AA81-6950-47C4-952C-196B09E59A61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b6591109-79b0-4135-b59a-0642cc2f2c78"/>
    <ds:schemaRef ds:uri="http://purl.org/dc/elements/1.1/"/>
    <ds:schemaRef ds:uri="023a9d60-9e4d-4833-8448-44b4073b5c44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tnu_nn_16_9</Template>
  <TotalTime>0</TotalTime>
  <Words>3315</Words>
  <Application>Microsoft Office PowerPoint</Application>
  <PresentationFormat>Skjermfremvisning (16:9)</PresentationFormat>
  <Paragraphs>545</Paragraphs>
  <Slides>36</Slides>
  <Notes>20</Notes>
  <HiddenSlides>0</HiddenSlides>
  <MMClips>0</MMClips>
  <ScaleCrop>false</ScaleCrop>
  <HeadingPairs>
    <vt:vector size="8" baseType="variant">
      <vt:variant>
        <vt:lpstr>Brukte skrifter</vt:lpstr>
      </vt:variant>
      <vt:variant>
        <vt:i4>7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36</vt:i4>
      </vt:variant>
    </vt:vector>
  </HeadingPairs>
  <TitlesOfParts>
    <vt:vector size="45" baseType="lpstr">
      <vt:lpstr>-apple-system</vt:lpstr>
      <vt:lpstr>Arial</vt:lpstr>
      <vt:lpstr>Arial,Sans-Serif</vt:lpstr>
      <vt:lpstr>Calibri</vt:lpstr>
      <vt:lpstr>Poppins</vt:lpstr>
      <vt:lpstr>Times New Roman</vt:lpstr>
      <vt:lpstr>Wingdings</vt:lpstr>
      <vt:lpstr>Office-tema</vt:lpstr>
      <vt:lpstr>think-cell Slide</vt:lpstr>
      <vt:lpstr>Samarbeidsmøte forvaltning</vt:lpstr>
      <vt:lpstr>Agenda</vt:lpstr>
      <vt:lpstr>Samarbeidsmøte forvaltning</vt:lpstr>
      <vt:lpstr>Hva har vi jobbet med siden sist</vt:lpstr>
      <vt:lpstr>EVUBEV – implementering ved Terje Ruud</vt:lpstr>
      <vt:lpstr>EVUBEV - implementering</vt:lpstr>
      <vt:lpstr>EVUBEV - løsning</vt:lpstr>
      <vt:lpstr>Hva skjer ved implementering?</vt:lpstr>
      <vt:lpstr>Annet</vt:lpstr>
      <vt:lpstr>Prosjektsøknadsmodul Unit4 Innføring NTNU 2023 </vt:lpstr>
      <vt:lpstr>Prosjektsøknadsmodulen</vt:lpstr>
      <vt:lpstr>Hva blir endringen?</vt:lpstr>
      <vt:lpstr>BOTT-roller i prosjektsøknadsmodulen</vt:lpstr>
      <vt:lpstr>Plan NTNU</vt:lpstr>
      <vt:lpstr>Oppdatering Prosjektsøknadsmodulen</vt:lpstr>
      <vt:lpstr>Oppdatering forts. Prosjektsøknadsmodulen</vt:lpstr>
      <vt:lpstr>Oppdatering forts. Prosjektsøknadsmodulen</vt:lpstr>
      <vt:lpstr>Ønskeliste…</vt:lpstr>
      <vt:lpstr>Status utvikling Bevisst </vt:lpstr>
      <vt:lpstr>Tiltak etter risikovurdering</vt:lpstr>
      <vt:lpstr>Strukturert innhentelse av risikoer fra alle fakultet har resultert i 177 adresserte risikoer</vt:lpstr>
      <vt:lpstr>Oversikt hovedrisikoer med forslag til tiltak</vt:lpstr>
      <vt:lpstr>Oversikt hovedrisikoer med forslag til tiltak</vt:lpstr>
      <vt:lpstr>Oversikt hovedrisikoer med forslag til tiltak</vt:lpstr>
      <vt:lpstr>Oversikt hovedrisikoer med forslag til tiltak</vt:lpstr>
      <vt:lpstr>Statusark pr. prosess</vt:lpstr>
      <vt:lpstr>Status september - NTNU forvaltning  </vt:lpstr>
      <vt:lpstr>Status september – Lønn</vt:lpstr>
      <vt:lpstr>Status september – Behov til betaling </vt:lpstr>
      <vt:lpstr>Status september - Fti  </vt:lpstr>
      <vt:lpstr>Status september - Prosjektøkonomi</vt:lpstr>
      <vt:lpstr>Status september - Regnskap</vt:lpstr>
      <vt:lpstr>Etablering Tverrfaglig team på FTI området?</vt:lpstr>
      <vt:lpstr>Tverrfaglig team FTI-området?</vt:lpstr>
      <vt:lpstr>Kommende hendelser</vt:lpstr>
      <vt:lpstr>Avslutning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Åpningsside</dc:title>
  <dc:creator>Gry-Lene Johansen</dc:creator>
  <cp:lastModifiedBy>Gry-Lene Johansen</cp:lastModifiedBy>
  <cp:revision>2</cp:revision>
  <cp:lastPrinted>2023-08-29T12:54:45Z</cp:lastPrinted>
  <dcterms:created xsi:type="dcterms:W3CDTF">2023-08-10T06:54:28Z</dcterms:created>
  <dcterms:modified xsi:type="dcterms:W3CDTF">2023-10-18T11:59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4B589F35622BF45A5FF53F3DCC5878D</vt:lpwstr>
  </property>
</Properties>
</file>